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9" r:id="rId4"/>
    <p:sldMasterId id="2147484442" r:id="rId5"/>
    <p:sldMasterId id="2147484459" r:id="rId6"/>
  </p:sldMasterIdLst>
  <p:notesMasterIdLst>
    <p:notesMasterId r:id="rId13"/>
  </p:notesMasterIdLst>
  <p:handoutMasterIdLst>
    <p:handoutMasterId r:id="rId14"/>
  </p:handoutMasterIdLst>
  <p:sldIdLst>
    <p:sldId id="256" r:id="rId7"/>
    <p:sldId id="258" r:id="rId8"/>
    <p:sldId id="2147378293" r:id="rId9"/>
    <p:sldId id="2147378294" r:id="rId10"/>
    <p:sldId id="2147378295" r:id="rId11"/>
    <p:sldId id="2147378296" r:id="rId12"/>
  </p:sldIdLst>
  <p:sldSz cx="12192000" cy="6858000"/>
  <p:notesSz cx="6797675" cy="9926638"/>
  <p:custDataLst>
    <p:tags r:id="rId1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519475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038951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558426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077900" algn="l" rtl="0" fontAlgn="base">
      <a:spcBef>
        <a:spcPct val="0"/>
      </a:spcBef>
      <a:spcAft>
        <a:spcPct val="0"/>
      </a:spcAft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597375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3116851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636326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4155801" algn="l" defTabSz="519475" rtl="0" eaLnBrk="1" latinLnBrk="0" hangingPunct="1">
      <a:defRPr sz="2727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C103541-D793-4866-95D3-53A936D4C639}">
          <p14:sldIdLst>
            <p14:sldId id="256"/>
            <p14:sldId id="258"/>
            <p14:sldId id="2147378293"/>
            <p14:sldId id="2147378294"/>
            <p14:sldId id="2147378295"/>
            <p14:sldId id="21473782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727" userDrawn="1">
          <p15:clr>
            <a:srgbClr val="A4A3A4"/>
          </p15:clr>
        </p15:guide>
        <p15:guide id="5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 Овсянников" initials="АО" lastIdx="1" clrIdx="0">
    <p:extLst>
      <p:ext uri="{19B8F6BF-5375-455C-9EA6-DF929625EA0E}">
        <p15:presenceInfo xmlns:p15="http://schemas.microsoft.com/office/powerpoint/2012/main" userId="S::aovsyannikov@sbs-consulting.ru::1f409477-affa-4163-b291-621239166e02" providerId="AD"/>
      </p:ext>
    </p:extLst>
  </p:cmAuthor>
  <p:cmAuthor id="2" name="nikitchenko_a@outlook.com" initials="n" lastIdx="3" clrIdx="1"/>
  <p:cmAuthor id="3" name="Nagibin Evgeny" initials="NE" lastIdx="3" clrIdx="2">
    <p:extLst>
      <p:ext uri="{19B8F6BF-5375-455C-9EA6-DF929625EA0E}">
        <p15:presenceInfo xmlns:p15="http://schemas.microsoft.com/office/powerpoint/2012/main" userId="df01c6f7fc4c567d" providerId="Windows Live"/>
      </p:ext>
    </p:extLst>
  </p:cmAuthor>
  <p:cmAuthor id="4" name="Пользователь" initials="П" lastIdx="1" clrIdx="3">
    <p:extLst>
      <p:ext uri="{19B8F6BF-5375-455C-9EA6-DF929625EA0E}">
        <p15:presenceInfo xmlns:p15="http://schemas.microsoft.com/office/powerpoint/2012/main" userId="Пользователь" providerId="None"/>
      </p:ext>
    </p:extLst>
  </p:cmAuthor>
  <p:cmAuthor id="5" name="Филипп Данько" initials="ФД" lastIdx="3" clrIdx="4">
    <p:extLst>
      <p:ext uri="{19B8F6BF-5375-455C-9EA6-DF929625EA0E}">
        <p15:presenceInfo xmlns:p15="http://schemas.microsoft.com/office/powerpoint/2012/main" userId="Филипп Данько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347C"/>
    <a:srgbClr val="3BA2FF"/>
    <a:srgbClr val="07264D"/>
    <a:srgbClr val="FE8F00"/>
    <a:srgbClr val="FFDD00"/>
    <a:srgbClr val="EDEFF4"/>
    <a:srgbClr val="FAFAFA"/>
    <a:srgbClr val="F0F0F0"/>
    <a:srgbClr val="EAEAEA"/>
    <a:srgbClr val="FBFC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657027-CD88-4D13-ADB0-4BD594897EBE}" v="34" dt="2025-04-23T18:40:23.1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19" autoAdjust="0"/>
    <p:restoredTop sz="92578" autoAdjust="0"/>
  </p:normalViewPr>
  <p:slideViewPr>
    <p:cSldViewPr snapToGrid="0">
      <p:cViewPr varScale="1">
        <p:scale>
          <a:sx n="90" d="100"/>
          <a:sy n="90" d="100"/>
        </p:scale>
        <p:origin x="156" y="84"/>
      </p:cViewPr>
      <p:guideLst>
        <p:guide orient="horz" pos="799"/>
        <p:guide pos="3840"/>
        <p:guide orient="horz" pos="2160"/>
        <p:guide pos="3727"/>
        <p:guide pos="393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6FBEF4D-45F4-074A-B58B-0787516935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A0A301-F0F0-F844-ACC6-36ED9123CB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CFB1DF-F6C5-794D-95B0-3F4B39E9714D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25CD0-06DB-2D41-947D-611429657D3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2ED8A0-2FC9-0541-B7C7-415EE24A3FB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83C34F-66E0-6144-BA02-240FF2F64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8274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t" anchorCtr="0" compatLnSpc="1">
            <a:prstTxWarp prst="textNoShape">
              <a:avLst/>
            </a:prstTxWarp>
          </a:bodyPr>
          <a:lstStyle>
            <a:lvl1pPr defTabSz="914984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197" y="3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t" anchorCtr="0" compatLnSpc="1">
            <a:prstTxWarp prst="textNoShape">
              <a:avLst/>
            </a:prstTxWarp>
          </a:bodyPr>
          <a:lstStyle>
            <a:lvl1pPr algn="r" defTabSz="914984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7713"/>
            <a:ext cx="6613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1" y="4715477"/>
            <a:ext cx="5438783" cy="4466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27751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b" anchorCtr="0" compatLnSpc="1">
            <a:prstTxWarp prst="textNoShape">
              <a:avLst/>
            </a:prstTxWarp>
          </a:bodyPr>
          <a:lstStyle>
            <a:lvl1pPr defTabSz="914984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197" y="9427751"/>
            <a:ext cx="2945872" cy="49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24" tIns="45762" rIns="91524" bIns="45762" numCol="1" anchor="b" anchorCtr="0" compatLnSpc="1">
            <a:prstTxWarp prst="textNoShape">
              <a:avLst/>
            </a:prstTxWarp>
          </a:bodyPr>
          <a:lstStyle>
            <a:lvl1pPr algn="r" defTabSz="914984">
              <a:defRPr sz="1200"/>
            </a:lvl1pPr>
          </a:lstStyle>
          <a:p>
            <a:fld id="{BE4DA3E6-CE98-AC4D-A9E8-42655BF20A38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600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519475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2pPr>
    <a:lvl3pPr marL="1038951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3pPr>
    <a:lvl4pPr marL="1558426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4pPr>
    <a:lvl5pPr marL="2077900" algn="l" rtl="0" eaLnBrk="0" fontAlgn="base" hangingPunct="0">
      <a:spcBef>
        <a:spcPct val="30000"/>
      </a:spcBef>
      <a:spcAft>
        <a:spcPct val="0"/>
      </a:spcAft>
      <a:defRPr sz="1364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5pPr>
    <a:lvl6pPr marL="2597375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6pPr>
    <a:lvl7pPr marL="3116851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7pPr>
    <a:lvl8pPr marL="3636326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8pPr>
    <a:lvl9pPr marL="4155801" algn="l" defTabSz="1038951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3913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6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563465" y="944855"/>
            <a:ext cx="291284" cy="296931"/>
            <a:chOff x="7812275" y="2926746"/>
            <a:chExt cx="3880361" cy="3955593"/>
          </a:xfrm>
          <a:solidFill>
            <a:schemeClr val="bg1">
              <a:alpha val="64000"/>
            </a:schemeClr>
          </a:solidFill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8BD5040-D9A3-704D-8F8F-1923F1F56E6B}"/>
                </a:ext>
              </a:extLst>
            </p:cNvPr>
            <p:cNvSpPr/>
            <p:nvPr/>
          </p:nvSpPr>
          <p:spPr>
            <a:xfrm>
              <a:off x="7812275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486706FA-4114-1A43-9B20-A4727093BBF4}"/>
                </a:ext>
              </a:extLst>
            </p:cNvPr>
            <p:cNvSpPr/>
            <p:nvPr/>
          </p:nvSpPr>
          <p:spPr>
            <a:xfrm>
              <a:off x="9179801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1AE01166-8421-854A-8ACB-87E4A37AE2AB}"/>
                </a:ext>
              </a:extLst>
            </p:cNvPr>
            <p:cNvSpPr/>
            <p:nvPr/>
          </p:nvSpPr>
          <p:spPr>
            <a:xfrm>
              <a:off x="10547327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E46D0A3E-436B-774B-A9EC-D35AD78516D5}"/>
                </a:ext>
              </a:extLst>
            </p:cNvPr>
            <p:cNvSpPr/>
            <p:nvPr/>
          </p:nvSpPr>
          <p:spPr>
            <a:xfrm>
              <a:off x="7812275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ECDFD785-A22E-5A4F-B072-A6462E0B3A84}"/>
                </a:ext>
              </a:extLst>
            </p:cNvPr>
            <p:cNvSpPr/>
            <p:nvPr/>
          </p:nvSpPr>
          <p:spPr>
            <a:xfrm>
              <a:off x="9179801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2054912E-3892-DD41-ACAB-9C828D4BB97C}"/>
                </a:ext>
              </a:extLst>
            </p:cNvPr>
            <p:cNvSpPr/>
            <p:nvPr/>
          </p:nvSpPr>
          <p:spPr>
            <a:xfrm>
              <a:off x="10547327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9C2451E-E14A-8E4A-82D5-7B01521C462E}"/>
                </a:ext>
              </a:extLst>
            </p:cNvPr>
            <p:cNvSpPr/>
            <p:nvPr/>
          </p:nvSpPr>
          <p:spPr>
            <a:xfrm>
              <a:off x="7812275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ABD3A0D5-E436-9F4B-962C-B40AB9F42402}"/>
                </a:ext>
              </a:extLst>
            </p:cNvPr>
            <p:cNvSpPr/>
            <p:nvPr/>
          </p:nvSpPr>
          <p:spPr>
            <a:xfrm>
              <a:off x="9179801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A11A6C87-546C-8F4C-A406-6E976964DDD7}"/>
                </a:ext>
              </a:extLst>
            </p:cNvPr>
            <p:cNvSpPr/>
            <p:nvPr/>
          </p:nvSpPr>
          <p:spPr>
            <a:xfrm>
              <a:off x="10547327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7" name="Freeform 136">
            <a:extLst>
              <a:ext uri="{FF2B5EF4-FFF2-40B4-BE49-F238E27FC236}">
                <a16:creationId xmlns:a16="http://schemas.microsoft.com/office/drawing/2014/main" id="{35179DCD-C738-A94B-A7D2-06AD11198EC5}"/>
              </a:ext>
            </a:extLst>
          </p:cNvPr>
          <p:cNvSpPr/>
          <p:nvPr/>
        </p:nvSpPr>
        <p:spPr>
          <a:xfrm>
            <a:off x="1292712" y="1036634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C8432FF6-52A7-2846-A8F7-FC292181C717}"/>
              </a:ext>
            </a:extLst>
          </p:cNvPr>
          <p:cNvSpPr/>
          <p:nvPr/>
        </p:nvSpPr>
        <p:spPr>
          <a:xfrm>
            <a:off x="1397420" y="1136383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9" name="Freeform 138">
            <a:extLst>
              <a:ext uri="{FF2B5EF4-FFF2-40B4-BE49-F238E27FC236}">
                <a16:creationId xmlns:a16="http://schemas.microsoft.com/office/drawing/2014/main" id="{33B9A593-4F2E-D64D-BDEA-181F5781DE5A}"/>
              </a:ext>
            </a:extLst>
          </p:cNvPr>
          <p:cNvSpPr/>
          <p:nvPr/>
        </p:nvSpPr>
        <p:spPr>
          <a:xfrm>
            <a:off x="1417438" y="947426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8C787F8F-676C-4E47-9D5D-A816CF58C220}"/>
              </a:ext>
            </a:extLst>
          </p:cNvPr>
          <p:cNvSpPr/>
          <p:nvPr/>
        </p:nvSpPr>
        <p:spPr>
          <a:xfrm>
            <a:off x="1203145" y="1162605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4285A921-F02E-AB44-AEEB-D5D56E2D2147}"/>
              </a:ext>
            </a:extLst>
          </p:cNvPr>
          <p:cNvSpPr/>
          <p:nvPr/>
        </p:nvSpPr>
        <p:spPr>
          <a:xfrm>
            <a:off x="1203145" y="949997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2" name="Freeform 141">
            <a:extLst>
              <a:ext uri="{FF2B5EF4-FFF2-40B4-BE49-F238E27FC236}">
                <a16:creationId xmlns:a16="http://schemas.microsoft.com/office/drawing/2014/main" id="{53251AD3-16FD-F54D-A012-96974B233FC8}"/>
              </a:ext>
            </a:extLst>
          </p:cNvPr>
          <p:cNvSpPr/>
          <p:nvPr/>
        </p:nvSpPr>
        <p:spPr>
          <a:xfrm>
            <a:off x="1344296" y="957709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FE95D203-16E4-5345-BBD5-5CBB8957E32B}"/>
              </a:ext>
            </a:extLst>
          </p:cNvPr>
          <p:cNvSpPr/>
          <p:nvPr/>
        </p:nvSpPr>
        <p:spPr>
          <a:xfrm>
            <a:off x="1409739" y="1059515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9A67F35D-C978-714A-91D8-0993C7A48710}"/>
              </a:ext>
            </a:extLst>
          </p:cNvPr>
          <p:cNvSpPr/>
          <p:nvPr/>
        </p:nvSpPr>
        <p:spPr>
          <a:xfrm>
            <a:off x="1297331" y="1152836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Freeform 144">
            <a:extLst>
              <a:ext uri="{FF2B5EF4-FFF2-40B4-BE49-F238E27FC236}">
                <a16:creationId xmlns:a16="http://schemas.microsoft.com/office/drawing/2014/main" id="{DE95C6C6-C05E-6A4F-BC5A-33CD38B6435C}"/>
              </a:ext>
            </a:extLst>
          </p:cNvPr>
          <p:cNvSpPr/>
          <p:nvPr/>
        </p:nvSpPr>
        <p:spPr>
          <a:xfrm>
            <a:off x="1225986" y="1064913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25715F42-A331-F04E-BC28-451E68835BA0}"/>
              </a:ext>
            </a:extLst>
          </p:cNvPr>
          <p:cNvSpPr/>
          <p:nvPr/>
        </p:nvSpPr>
        <p:spPr>
          <a:xfrm>
            <a:off x="1276030" y="982389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A3C597B9-2901-284E-B738-7BA888DE8940}"/>
              </a:ext>
            </a:extLst>
          </p:cNvPr>
          <p:cNvSpPr/>
          <p:nvPr/>
        </p:nvSpPr>
        <p:spPr>
          <a:xfrm>
            <a:off x="1525482" y="903722"/>
            <a:ext cx="10265" cy="379198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4000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8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937643" y="982904"/>
            <a:ext cx="746559" cy="219549"/>
            <a:chOff x="12796915" y="3433612"/>
            <a:chExt cx="9945355" cy="2924740"/>
          </a:xfrm>
          <a:solidFill>
            <a:schemeClr val="bg1">
              <a:alpha val="64000"/>
            </a:schemeClr>
          </a:solidFill>
        </p:grpSpPr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DEB586AE-D533-1348-B0D1-D8824F368E91}"/>
                </a:ext>
              </a:extLst>
            </p:cNvPr>
            <p:cNvSpPr/>
            <p:nvPr/>
          </p:nvSpPr>
          <p:spPr>
            <a:xfrm>
              <a:off x="12796915" y="3433612"/>
              <a:ext cx="1996587" cy="2924740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A931BF6F-2A9D-814C-9FC5-E069B4833FA6}"/>
                </a:ext>
              </a:extLst>
            </p:cNvPr>
            <p:cNvSpPr/>
            <p:nvPr/>
          </p:nvSpPr>
          <p:spPr>
            <a:xfrm>
              <a:off x="16378705" y="3498688"/>
              <a:ext cx="2640473" cy="2808296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853D6E94-E89E-5B46-9637-094BCCB61113}"/>
                </a:ext>
              </a:extLst>
            </p:cNvPr>
            <p:cNvSpPr/>
            <p:nvPr/>
          </p:nvSpPr>
          <p:spPr>
            <a:xfrm>
              <a:off x="20745683" y="3433612"/>
              <a:ext cx="1996587" cy="2924740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A589429-A1AF-004B-B2D6-830BA0D37AD6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AB0CFB5-7B28-A547-9873-724E922701E8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17F27F7-E63D-6148-849A-E6ED639EE234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8A4B448-E5A4-A849-9533-BBF2A5A95779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65B724E-7DCC-D34B-81BE-12512A31D817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DB80A66-A424-7C4E-84A9-8E4A6DEC2F3D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E2E51638-BBA2-FB4C-856C-5FC3147D06B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7F39F30-9AF6-1449-93B0-EC8BA6A71583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4ECF33D-C9D3-2340-B48B-4538B6D4AD5B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FA971CDB-E6EC-7048-B5DF-732D1B23F661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EC4F9-B287-4A42-A848-BDA400528D20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203157" y="1813674"/>
            <a:ext cx="10437979" cy="1846659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149094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F7B8B5-F108-864E-9E02-84965A67A78E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03156" y="5430462"/>
            <a:ext cx="10437979" cy="307777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F003958-C4F0-AA4F-B513-5811C1FBCBE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03145" y="5909682"/>
            <a:ext cx="2448000" cy="246221"/>
          </a:xfr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/>
            <a:r>
              <a:rPr lang="ru-RU"/>
              <a:t>Дат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3635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11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E720B4A-FFE4-B741-BACA-7DEFF080782F}"/>
              </a:ext>
            </a:extLst>
          </p:cNvPr>
          <p:cNvSpPr/>
          <p:nvPr userDrawn="1"/>
        </p:nvSpPr>
        <p:spPr>
          <a:xfrm>
            <a:off x="0" y="1215189"/>
            <a:ext cx="3862137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E67AC2-2EAD-B34F-B2A4-8E4B4C4A6A83}"/>
              </a:ext>
            </a:extLst>
          </p:cNvPr>
          <p:cNvCxnSpPr>
            <a:cxnSpLocks/>
          </p:cNvCxnSpPr>
          <p:nvPr userDrawn="1"/>
        </p:nvCxnSpPr>
        <p:spPr>
          <a:xfrm>
            <a:off x="566939" y="3780809"/>
            <a:ext cx="792629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33" y="2582949"/>
            <a:ext cx="3078629" cy="738664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7EEDB8-49D1-D244-928D-D95B3B5AB1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939" y="0"/>
            <a:ext cx="2549240" cy="254945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A7FE9F-1BEE-CC4D-AD27-C477FA21F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333" y="3321612"/>
            <a:ext cx="30559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763EB7E-C3F6-7C46-ABF7-DD7FE5AE82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606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75329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157" y="3694067"/>
            <a:ext cx="10437979" cy="738664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472841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039A95A-0241-834F-99E5-43B101E36DDD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BB1D06B-DE12-1040-AA63-264EB7B5A67A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62C84BC-0543-554D-862F-33CAB0F014BF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619FD709-138E-C943-87BE-E2A14FC5E990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0859DDC-6596-4843-9603-982CD2DDD0CC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EB74981-D994-E449-8EFE-FDD59D63F8E5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EB3CD7-499A-4A4A-8338-3C16D89DB93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3EFE07-EE67-B341-B594-AA5B8B330EED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F625451-0534-4F4E-99B0-C1836CEE3855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375CC17-1B77-694D-8E5A-97028735B056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DDDA135-170F-E545-872E-277F8BA7DEC6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97736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42D70A-611D-444B-888D-41DB055FEA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296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42D70A-611D-444B-888D-41DB055FEA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AB57EBE9-176D-5F4D-8209-6E45FB780C4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36035" y="-2037"/>
            <a:ext cx="10455965" cy="6860038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AD1E6E-469A-464E-8995-70D252AACB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1687EA-BFFB-BC43-969A-1490C3D9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618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5622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587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33EF7B-9EEC-4EE5-939B-2FA4DD1D2A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BF8E27-B1FC-465A-976C-153C3EE80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EB46EE-F091-4204-A057-7A91BEB6D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E7D48-C32B-4408-8A91-1DE9F4EF94C1}" type="datetimeFigureOut">
              <a:rPr lang="ru-RU" smtClean="0"/>
              <a:t>25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67CE07-D312-41D8-B28E-52DEFC10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432E626-3958-4A1D-878C-4D397CD8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2B29E-F3D3-4AA5-A4FD-8F5B5BEB04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15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DB51C-22D4-CB1E-717F-53C377774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FCF21-9D0F-9652-07FB-A9889739AD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719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429703"/>
              </p:ext>
            </p:extLst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1520000" cy="3077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152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endParaRPr lang="ru-RU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1 – </a:t>
            </a:r>
            <a:r>
              <a:rPr lang="ru-RU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Источник: анализ </a:t>
            </a:r>
            <a:r>
              <a:rPr lang="en-US"/>
              <a:t>Strategy Partner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4606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3783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6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563465" y="944855"/>
            <a:ext cx="291284" cy="296931"/>
            <a:chOff x="7812275" y="2926746"/>
            <a:chExt cx="3880361" cy="3955593"/>
          </a:xfrm>
          <a:solidFill>
            <a:schemeClr val="bg1">
              <a:alpha val="64000"/>
            </a:schemeClr>
          </a:solidFill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8BD5040-D9A3-704D-8F8F-1923F1F56E6B}"/>
                </a:ext>
              </a:extLst>
            </p:cNvPr>
            <p:cNvSpPr/>
            <p:nvPr/>
          </p:nvSpPr>
          <p:spPr>
            <a:xfrm>
              <a:off x="7812275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486706FA-4114-1A43-9B20-A4727093BBF4}"/>
                </a:ext>
              </a:extLst>
            </p:cNvPr>
            <p:cNvSpPr/>
            <p:nvPr/>
          </p:nvSpPr>
          <p:spPr>
            <a:xfrm>
              <a:off x="9179801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1AE01166-8421-854A-8ACB-87E4A37AE2AB}"/>
                </a:ext>
              </a:extLst>
            </p:cNvPr>
            <p:cNvSpPr/>
            <p:nvPr/>
          </p:nvSpPr>
          <p:spPr>
            <a:xfrm>
              <a:off x="10547327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E46D0A3E-436B-774B-A9EC-D35AD78516D5}"/>
                </a:ext>
              </a:extLst>
            </p:cNvPr>
            <p:cNvSpPr/>
            <p:nvPr/>
          </p:nvSpPr>
          <p:spPr>
            <a:xfrm>
              <a:off x="7812275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ECDFD785-A22E-5A4F-B072-A6462E0B3A84}"/>
                </a:ext>
              </a:extLst>
            </p:cNvPr>
            <p:cNvSpPr/>
            <p:nvPr/>
          </p:nvSpPr>
          <p:spPr>
            <a:xfrm>
              <a:off x="9179801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2054912E-3892-DD41-ACAB-9C828D4BB97C}"/>
                </a:ext>
              </a:extLst>
            </p:cNvPr>
            <p:cNvSpPr/>
            <p:nvPr/>
          </p:nvSpPr>
          <p:spPr>
            <a:xfrm>
              <a:off x="10547327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9C2451E-E14A-8E4A-82D5-7B01521C462E}"/>
                </a:ext>
              </a:extLst>
            </p:cNvPr>
            <p:cNvSpPr/>
            <p:nvPr/>
          </p:nvSpPr>
          <p:spPr>
            <a:xfrm>
              <a:off x="7812275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ABD3A0D5-E436-9F4B-962C-B40AB9F42402}"/>
                </a:ext>
              </a:extLst>
            </p:cNvPr>
            <p:cNvSpPr/>
            <p:nvPr/>
          </p:nvSpPr>
          <p:spPr>
            <a:xfrm>
              <a:off x="9179801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A11A6C87-546C-8F4C-A406-6E976964DDD7}"/>
                </a:ext>
              </a:extLst>
            </p:cNvPr>
            <p:cNvSpPr/>
            <p:nvPr/>
          </p:nvSpPr>
          <p:spPr>
            <a:xfrm>
              <a:off x="10547327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7" name="Freeform 136">
            <a:extLst>
              <a:ext uri="{FF2B5EF4-FFF2-40B4-BE49-F238E27FC236}">
                <a16:creationId xmlns:a16="http://schemas.microsoft.com/office/drawing/2014/main" id="{35179DCD-C738-A94B-A7D2-06AD11198EC5}"/>
              </a:ext>
            </a:extLst>
          </p:cNvPr>
          <p:cNvSpPr/>
          <p:nvPr/>
        </p:nvSpPr>
        <p:spPr>
          <a:xfrm>
            <a:off x="1292712" y="1036634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C8432FF6-52A7-2846-A8F7-FC292181C717}"/>
              </a:ext>
            </a:extLst>
          </p:cNvPr>
          <p:cNvSpPr/>
          <p:nvPr/>
        </p:nvSpPr>
        <p:spPr>
          <a:xfrm>
            <a:off x="1397420" y="1136383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9" name="Freeform 138">
            <a:extLst>
              <a:ext uri="{FF2B5EF4-FFF2-40B4-BE49-F238E27FC236}">
                <a16:creationId xmlns:a16="http://schemas.microsoft.com/office/drawing/2014/main" id="{33B9A593-4F2E-D64D-BDEA-181F5781DE5A}"/>
              </a:ext>
            </a:extLst>
          </p:cNvPr>
          <p:cNvSpPr/>
          <p:nvPr/>
        </p:nvSpPr>
        <p:spPr>
          <a:xfrm>
            <a:off x="1417438" y="947426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8C787F8F-676C-4E47-9D5D-A816CF58C220}"/>
              </a:ext>
            </a:extLst>
          </p:cNvPr>
          <p:cNvSpPr/>
          <p:nvPr/>
        </p:nvSpPr>
        <p:spPr>
          <a:xfrm>
            <a:off x="1203145" y="1162605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4285A921-F02E-AB44-AEEB-D5D56E2D2147}"/>
              </a:ext>
            </a:extLst>
          </p:cNvPr>
          <p:cNvSpPr/>
          <p:nvPr/>
        </p:nvSpPr>
        <p:spPr>
          <a:xfrm>
            <a:off x="1203145" y="949997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2" name="Freeform 141">
            <a:extLst>
              <a:ext uri="{FF2B5EF4-FFF2-40B4-BE49-F238E27FC236}">
                <a16:creationId xmlns:a16="http://schemas.microsoft.com/office/drawing/2014/main" id="{53251AD3-16FD-F54D-A012-96974B233FC8}"/>
              </a:ext>
            </a:extLst>
          </p:cNvPr>
          <p:cNvSpPr/>
          <p:nvPr/>
        </p:nvSpPr>
        <p:spPr>
          <a:xfrm>
            <a:off x="1344296" y="957709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FE95D203-16E4-5345-BBD5-5CBB8957E32B}"/>
              </a:ext>
            </a:extLst>
          </p:cNvPr>
          <p:cNvSpPr/>
          <p:nvPr/>
        </p:nvSpPr>
        <p:spPr>
          <a:xfrm>
            <a:off x="1409739" y="1059515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9A67F35D-C978-714A-91D8-0993C7A48710}"/>
              </a:ext>
            </a:extLst>
          </p:cNvPr>
          <p:cNvSpPr/>
          <p:nvPr/>
        </p:nvSpPr>
        <p:spPr>
          <a:xfrm>
            <a:off x="1297331" y="1152836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Freeform 144">
            <a:extLst>
              <a:ext uri="{FF2B5EF4-FFF2-40B4-BE49-F238E27FC236}">
                <a16:creationId xmlns:a16="http://schemas.microsoft.com/office/drawing/2014/main" id="{DE95C6C6-C05E-6A4F-BC5A-33CD38B6435C}"/>
              </a:ext>
            </a:extLst>
          </p:cNvPr>
          <p:cNvSpPr/>
          <p:nvPr/>
        </p:nvSpPr>
        <p:spPr>
          <a:xfrm>
            <a:off x="1225986" y="1064913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25715F42-A331-F04E-BC28-451E68835BA0}"/>
              </a:ext>
            </a:extLst>
          </p:cNvPr>
          <p:cNvSpPr/>
          <p:nvPr/>
        </p:nvSpPr>
        <p:spPr>
          <a:xfrm>
            <a:off x="1276030" y="982389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A3C597B9-2901-284E-B738-7BA888DE8940}"/>
              </a:ext>
            </a:extLst>
          </p:cNvPr>
          <p:cNvSpPr/>
          <p:nvPr/>
        </p:nvSpPr>
        <p:spPr>
          <a:xfrm>
            <a:off x="1525482" y="903722"/>
            <a:ext cx="10265" cy="379198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4000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8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937643" y="982904"/>
            <a:ext cx="746559" cy="219549"/>
            <a:chOff x="12796915" y="3433612"/>
            <a:chExt cx="9945355" cy="2924740"/>
          </a:xfrm>
          <a:solidFill>
            <a:schemeClr val="bg1">
              <a:alpha val="64000"/>
            </a:schemeClr>
          </a:solidFill>
        </p:grpSpPr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DEB586AE-D533-1348-B0D1-D8824F368E91}"/>
                </a:ext>
              </a:extLst>
            </p:cNvPr>
            <p:cNvSpPr/>
            <p:nvPr/>
          </p:nvSpPr>
          <p:spPr>
            <a:xfrm>
              <a:off x="12796915" y="3433612"/>
              <a:ext cx="1996587" cy="2924740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A931BF6F-2A9D-814C-9FC5-E069B4833FA6}"/>
                </a:ext>
              </a:extLst>
            </p:cNvPr>
            <p:cNvSpPr/>
            <p:nvPr/>
          </p:nvSpPr>
          <p:spPr>
            <a:xfrm>
              <a:off x="16378705" y="3498688"/>
              <a:ext cx="2640473" cy="2808296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853D6E94-E89E-5B46-9637-094BCCB61113}"/>
                </a:ext>
              </a:extLst>
            </p:cNvPr>
            <p:cNvSpPr/>
            <p:nvPr/>
          </p:nvSpPr>
          <p:spPr>
            <a:xfrm>
              <a:off x="20745683" y="3433612"/>
              <a:ext cx="1996587" cy="2924740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A589429-A1AF-004B-B2D6-830BA0D37AD6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AB0CFB5-7B28-A547-9873-724E922701E8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17F27F7-E63D-6148-849A-E6ED639EE234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8A4B448-E5A4-A849-9533-BBF2A5A95779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65B724E-7DCC-D34B-81BE-12512A31D817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DB80A66-A424-7C4E-84A9-8E4A6DEC2F3D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E2E51638-BBA2-FB4C-856C-5FC3147D06B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7F39F30-9AF6-1449-93B0-EC8BA6A71583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4ECF33D-C9D3-2340-B48B-4538B6D4AD5B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FA971CDB-E6EC-7048-B5DF-732D1B23F661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EC4F9-B287-4A42-A848-BDA400528D20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203157" y="1813674"/>
            <a:ext cx="10437979" cy="1846659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149094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F7B8B5-F108-864E-9E02-84965A67A78E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03156" y="5430462"/>
            <a:ext cx="10437979" cy="307777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F003958-C4F0-AA4F-B513-5811C1FBCBE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03145" y="5909682"/>
            <a:ext cx="2448000" cy="246221"/>
          </a:xfr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/>
            <a:r>
              <a:rPr lang="ru-RU"/>
              <a:t>Дат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733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3135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3EAC3D44-3270-6F41-A7FA-7D887C09EA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00388" y="548311"/>
            <a:ext cx="1471612" cy="7477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11199C73-5CB8-3043-9692-EE578ED2C9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Background pic</a:t>
            </a:r>
          </a:p>
        </p:txBody>
      </p:sp>
    </p:spTree>
    <p:extLst>
      <p:ext uri="{BB962C8B-B14F-4D97-AF65-F5344CB8AC3E}">
        <p14:creationId xmlns:p14="http://schemas.microsoft.com/office/powerpoint/2010/main" val="36022972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71363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369332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145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0447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3EAC3D44-3270-6F41-A7FA-7D887C09EA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00388" y="548311"/>
            <a:ext cx="1471612" cy="7477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11199C73-5CB8-3043-9692-EE578ED2C9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Background pic</a:t>
            </a:r>
          </a:p>
        </p:txBody>
      </p:sp>
    </p:spTree>
    <p:extLst>
      <p:ext uri="{BB962C8B-B14F-4D97-AF65-F5344CB8AC3E}">
        <p14:creationId xmlns:p14="http://schemas.microsoft.com/office/powerpoint/2010/main" val="27085356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5103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EE3AC01-CE52-574B-8B6C-03931E756D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9693513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3178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4323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0847" y="3121224"/>
            <a:ext cx="3694307" cy="615553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A6154E-D906-D04B-9DF4-EEEF72614A4D}"/>
              </a:ext>
            </a:extLst>
          </p:cNvPr>
          <p:cNvGrpSpPr/>
          <p:nvPr userDrawn="1"/>
        </p:nvGrpSpPr>
        <p:grpSpPr>
          <a:xfrm>
            <a:off x="8312338" y="2978338"/>
            <a:ext cx="3879662" cy="3879662"/>
            <a:chOff x="7758019" y="2373607"/>
            <a:chExt cx="4125917" cy="412591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CDA4508-FBF6-7B4F-A16E-0AC26D92015B}"/>
                </a:ext>
              </a:extLst>
            </p:cNvPr>
            <p:cNvSpPr/>
            <p:nvPr/>
          </p:nvSpPr>
          <p:spPr>
            <a:xfrm>
              <a:off x="10875215" y="2373607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6BE70485-2581-024F-A7F0-C6887C5EAA47}"/>
                </a:ext>
              </a:extLst>
            </p:cNvPr>
            <p:cNvSpPr/>
            <p:nvPr/>
          </p:nvSpPr>
          <p:spPr>
            <a:xfrm>
              <a:off x="7758019" y="5490803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7025CF4-7823-B849-9A42-07EEF4251D39}"/>
                </a:ext>
              </a:extLst>
            </p:cNvPr>
            <p:cNvSpPr/>
            <p:nvPr/>
          </p:nvSpPr>
          <p:spPr>
            <a:xfrm>
              <a:off x="8738562" y="2801604"/>
              <a:ext cx="588225" cy="588225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74D143E-7199-274E-A4B6-B07C8E902B59}"/>
                </a:ext>
              </a:extLst>
            </p:cNvPr>
            <p:cNvSpPr/>
            <p:nvPr/>
          </p:nvSpPr>
          <p:spPr>
            <a:xfrm>
              <a:off x="10699315" y="3898858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D4BADA9-955C-D246-B4EF-080C5AF9DAD5}"/>
                </a:ext>
              </a:extLst>
            </p:cNvPr>
            <p:cNvSpPr/>
            <p:nvPr/>
          </p:nvSpPr>
          <p:spPr>
            <a:xfrm>
              <a:off x="9068355" y="5271553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25D8423-5F63-6F49-99C9-4DF90B8A1151}"/>
                </a:ext>
              </a:extLst>
            </p:cNvPr>
            <p:cNvSpPr/>
            <p:nvPr/>
          </p:nvSpPr>
          <p:spPr>
            <a:xfrm>
              <a:off x="8023787" y="3987392"/>
              <a:ext cx="624072" cy="624072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C56157B-050A-C845-94B7-4FF34DE05834}"/>
                </a:ext>
              </a:extLst>
            </p:cNvPr>
            <p:cNvSpPr/>
            <p:nvPr/>
          </p:nvSpPr>
          <p:spPr>
            <a:xfrm>
              <a:off x="8875947" y="3536053"/>
              <a:ext cx="1471064" cy="1471064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3461D8-4E1B-F346-ABF9-7869F6A279EC}"/>
                </a:ext>
              </a:extLst>
            </p:cNvPr>
            <p:cNvSpPr/>
            <p:nvPr/>
          </p:nvSpPr>
          <p:spPr>
            <a:xfrm>
              <a:off x="10476562" y="5092150"/>
              <a:ext cx="1407374" cy="1407374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BC7B5B3-EE82-1A4D-A243-37ECBAFABA2B}"/>
                </a:ext>
              </a:extLst>
            </p:cNvPr>
            <p:cNvSpPr/>
            <p:nvPr/>
          </p:nvSpPr>
          <p:spPr>
            <a:xfrm>
              <a:off x="7758019" y="2373607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3C32989-2C0A-0C47-AC10-0F9572F4991B}"/>
                </a:ext>
              </a:extLst>
            </p:cNvPr>
            <p:cNvSpPr/>
            <p:nvPr/>
          </p:nvSpPr>
          <p:spPr>
            <a:xfrm>
              <a:off x="9747282" y="2494986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AB7332F-FCFD-6647-BAE6-0B153115D91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</p:spTree>
    <p:extLst>
      <p:ext uri="{BB962C8B-B14F-4D97-AF65-F5344CB8AC3E}">
        <p14:creationId xmlns:p14="http://schemas.microsoft.com/office/powerpoint/2010/main" val="1371059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3344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row: Pentagon 32">
            <a:extLst>
              <a:ext uri="{FF2B5EF4-FFF2-40B4-BE49-F238E27FC236}">
                <a16:creationId xmlns:a16="http://schemas.microsoft.com/office/drawing/2014/main" id="{99DAB22F-91D8-404E-BFA7-58AA16117896}"/>
              </a:ext>
            </a:extLst>
          </p:cNvPr>
          <p:cNvSpPr/>
          <p:nvPr userDrawn="1"/>
        </p:nvSpPr>
        <p:spPr>
          <a:xfrm>
            <a:off x="0" y="448"/>
            <a:ext cx="8298194" cy="6857552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6260169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554918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3417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3092669" cy="4372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290833-E380-9144-921E-7981C45A8E00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C70A0AE9-9071-C247-85CC-AA9C40D7F03D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B2A947-B59F-4641-A9AC-86F90A23A2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665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2706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8122371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7066800" cy="4372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257CBA9-8590-AE43-8CB4-9C9EDD1224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70668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4839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7300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3750CABC-2070-3045-9979-5EB6FF8AA8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64784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12181EAB-F7DD-9E41-87E1-36C960A594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630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C4B0EEE-BB90-6E4F-BD1C-F5D4DAC260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07821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EF81ACC-E8D8-A84D-A3FF-79C0E8DFA0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9342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BC5280-07C4-5648-8F89-3AB2A146E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DEC1154-29E1-4843-A9B8-8161644685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601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5962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E720B4A-FFE4-B741-BACA-7DEFF080782F}"/>
              </a:ext>
            </a:extLst>
          </p:cNvPr>
          <p:cNvSpPr/>
          <p:nvPr userDrawn="1"/>
        </p:nvSpPr>
        <p:spPr>
          <a:xfrm>
            <a:off x="0" y="1215189"/>
            <a:ext cx="3862137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E67AC2-2EAD-B34F-B2A4-8E4B4C4A6A83}"/>
              </a:ext>
            </a:extLst>
          </p:cNvPr>
          <p:cNvCxnSpPr>
            <a:cxnSpLocks/>
          </p:cNvCxnSpPr>
          <p:nvPr userDrawn="1"/>
        </p:nvCxnSpPr>
        <p:spPr>
          <a:xfrm>
            <a:off x="566939" y="3780809"/>
            <a:ext cx="792629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33" y="2582949"/>
            <a:ext cx="3078629" cy="738664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7EEDB8-49D1-D244-928D-D95B3B5AB1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939" y="0"/>
            <a:ext cx="2549240" cy="254945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A7FE9F-1BEE-CC4D-AD27-C477FA21F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333" y="3321612"/>
            <a:ext cx="30559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763EB7E-C3F6-7C46-ABF7-DD7FE5AE82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2092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4935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157" y="3694067"/>
            <a:ext cx="10437979" cy="738664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472841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039A95A-0241-834F-99E5-43B101E36DDD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BB1D06B-DE12-1040-AA63-264EB7B5A67A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62C84BC-0543-554D-862F-33CAB0F014BF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619FD709-138E-C943-87BE-E2A14FC5E990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0859DDC-6596-4843-9603-982CD2DDD0CC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EB74981-D994-E449-8EFE-FDD59D63F8E5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EB3CD7-499A-4A4A-8338-3C16D89DB93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3EFE07-EE67-B341-B594-AA5B8B330EED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F625451-0534-4F4E-99B0-C1836CEE3855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375CC17-1B77-694D-8E5A-97028735B056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DDDA135-170F-E545-872E-277F8BA7DEC6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000982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42D70A-611D-444B-888D-41DB055FEA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1760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42D70A-611D-444B-888D-41DB055FEA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">
            <a:extLst>
              <a:ext uri="{FF2B5EF4-FFF2-40B4-BE49-F238E27FC236}">
                <a16:creationId xmlns:a16="http://schemas.microsoft.com/office/drawing/2014/main" id="{AB57EBE9-176D-5F4D-8209-6E45FB780C4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36035" y="-2037"/>
            <a:ext cx="10455965" cy="6860038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AD1E6E-469A-464E-8995-70D252AACB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1687EA-BFFB-BC43-969A-1490C3D9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8044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33603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2254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293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369332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817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33EF7B-9EEC-4EE5-939B-2FA4DD1D2A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BF8E27-B1FC-465A-976C-153C3EE80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EB46EE-F091-4204-A057-7A91BEB6D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E7D48-C32B-4408-8A91-1DE9F4EF94C1}" type="datetimeFigureOut">
              <a:rPr lang="ru-RU" smtClean="0"/>
              <a:t>25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67CE07-D312-41D8-B28E-52DEFC10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432E626-3958-4A1D-878C-4D397CD8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2B29E-F3D3-4AA5-A4FD-8F5B5BEB04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7417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DB51C-22D4-CB1E-717F-53C377774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FCF21-9D0F-9652-07FB-A9889739AD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8799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626094"/>
              </p:ext>
            </p:extLst>
          </p:nvPr>
        </p:nvGraphicFramePr>
        <p:xfrm>
          <a:off x="1960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0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1520000" cy="3077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152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endParaRPr lang="ru-RU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1 – </a:t>
            </a:r>
            <a:r>
              <a:rPr lang="ru-RU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Источник: анализ </a:t>
            </a:r>
            <a:r>
              <a:rPr lang="en-US"/>
              <a:t>Strategy Partner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7981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Сгруппировать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29" name="Picture 9" descr="Picture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30" name="Rectangle 24"/>
            <p:cNvSpPr/>
            <p:nvPr/>
          </p:nvSpPr>
          <p:spPr>
            <a:xfrm>
              <a:off x="766762" y="753175"/>
              <a:ext cx="10658476" cy="5339651"/>
            </a:xfrm>
            <a:prstGeom prst="rect">
              <a:avLst/>
            </a:prstGeom>
            <a:solidFill>
              <a:srgbClr val="FFFFFF"/>
            </a:solidFill>
            <a:ln w="3175" cap="flat">
              <a:solidFill>
                <a:srgbClr val="32538F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defTabSz="914400">
                <a:spcBef>
                  <a:spcPts val="0"/>
                </a:spcBef>
                <a:defRPr sz="18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/>
            </a:p>
          </p:txBody>
        </p:sp>
      </p:grpSp>
      <p:pic>
        <p:nvPicPr>
          <p:cNvPr id="32" name="Picture 28" descr="Picture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3859" y="962172"/>
            <a:ext cx="886500" cy="886500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traight Connector 48"/>
          <p:cNvSpPr/>
          <p:nvPr/>
        </p:nvSpPr>
        <p:spPr>
          <a:xfrm>
            <a:off x="6090212" y="962172"/>
            <a:ext cx="1" cy="840174"/>
          </a:xfrm>
          <a:prstGeom prst="line">
            <a:avLst/>
          </a:prstGeom>
          <a:ln w="12700">
            <a:solidFill>
              <a:srgbClr val="102D69"/>
            </a:solidFill>
            <a:miter/>
          </a:ln>
        </p:spPr>
        <p:txBody>
          <a:bodyPr lIns="45719" rIns="45719"/>
          <a:lstStyle/>
          <a:p>
            <a:pPr defTabSz="914400">
              <a:spcBef>
                <a:spcPts val="0"/>
              </a:spcBef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34" name="Straight Connector 50"/>
          <p:cNvSpPr/>
          <p:nvPr/>
        </p:nvSpPr>
        <p:spPr>
          <a:xfrm>
            <a:off x="8642580" y="962172"/>
            <a:ext cx="1" cy="840174"/>
          </a:xfrm>
          <a:prstGeom prst="line">
            <a:avLst/>
          </a:prstGeom>
          <a:ln w="12700">
            <a:solidFill>
              <a:srgbClr val="102D69"/>
            </a:solidFill>
            <a:miter/>
          </a:ln>
        </p:spPr>
        <p:txBody>
          <a:bodyPr lIns="45719" rIns="45719"/>
          <a:lstStyle/>
          <a:p>
            <a:pPr defTabSz="914400">
              <a:spcBef>
                <a:spcPts val="0"/>
              </a:spcBef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35" name="Straight Connector 51"/>
          <p:cNvSpPr/>
          <p:nvPr/>
        </p:nvSpPr>
        <p:spPr>
          <a:xfrm>
            <a:off x="11179046" y="962172"/>
            <a:ext cx="1" cy="840174"/>
          </a:xfrm>
          <a:prstGeom prst="line">
            <a:avLst/>
          </a:prstGeom>
          <a:ln w="12700">
            <a:solidFill>
              <a:srgbClr val="102D69"/>
            </a:solidFill>
            <a:miter/>
          </a:ln>
        </p:spPr>
        <p:txBody>
          <a:bodyPr lIns="45719" rIns="45719"/>
          <a:lstStyle/>
          <a:p>
            <a:pPr defTabSz="914400">
              <a:spcBef>
                <a:spcPts val="0"/>
              </a:spcBef>
              <a:defRPr sz="1800">
                <a:solidFill>
                  <a:srgbClr val="000000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36" name="Название факультета в две строки (16 pt)"/>
          <p:cNvSpPr txBox="1">
            <a:spLocks noGrp="1"/>
          </p:cNvSpPr>
          <p:nvPr>
            <p:ph type="body" sz="quarter" idx="21"/>
          </p:nvPr>
        </p:nvSpPr>
        <p:spPr>
          <a:xfrm>
            <a:off x="2130739" y="1112072"/>
            <a:ext cx="3581410" cy="70428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pPr>
            <a:r>
              <a:t>Название факультета</a:t>
            </a:r>
            <a:br/>
            <a:r>
              <a:t>в две строки (16 pt)</a:t>
            </a:r>
          </a:p>
        </p:txBody>
      </p:sp>
      <p:sp>
        <p:nvSpPr>
          <p:cNvPr id="37" name="Название подразделения в две или три строки (12pt)"/>
          <p:cNvSpPr txBox="1">
            <a:spLocks noGrp="1"/>
          </p:cNvSpPr>
          <p:nvPr>
            <p:ph type="body" sz="quarter" idx="22"/>
          </p:nvPr>
        </p:nvSpPr>
        <p:spPr>
          <a:xfrm>
            <a:off x="6239979" y="1112072"/>
            <a:ext cx="2252835" cy="54037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pPr>
            <a:r>
              <a:t>Название подразделения</a:t>
            </a:r>
            <a:br/>
            <a:r>
              <a:t>в две или три строки (12pt)</a:t>
            </a:r>
          </a:p>
        </p:txBody>
      </p:sp>
      <p:sp>
        <p:nvSpPr>
          <p:cNvPr id="38" name="Москва 2022 (12pt)"/>
          <p:cNvSpPr txBox="1">
            <a:spLocks noGrp="1"/>
          </p:cNvSpPr>
          <p:nvPr>
            <p:ph type="body" sz="quarter" idx="23"/>
          </p:nvPr>
        </p:nvSpPr>
        <p:spPr>
          <a:xfrm>
            <a:off x="8796001" y="1112072"/>
            <a:ext cx="2252835" cy="54037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pPr>
            <a:r>
              <a:t>Москва</a:t>
            </a:r>
            <a:br/>
            <a:r>
              <a:t>2022 (12pt)</a:t>
            </a:r>
          </a:p>
        </p:txBody>
      </p:sp>
      <p:sp>
        <p:nvSpPr>
          <p:cNvPr id="39" name="Название презентации может быть набрано в две  или три строки (43 pt)"/>
          <p:cNvSpPr txBox="1">
            <a:spLocks noGrp="1"/>
          </p:cNvSpPr>
          <p:nvPr>
            <p:ph type="body" sz="half" idx="24"/>
          </p:nvPr>
        </p:nvSpPr>
        <p:spPr>
          <a:xfrm>
            <a:off x="1014505" y="2284019"/>
            <a:ext cx="10162990" cy="1981496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4300">
                <a:solidFill>
                  <a:srgbClr val="172C65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Название презентации</a:t>
            </a:r>
            <a:br/>
            <a:r>
              <a:t>может быть набрано в две </a:t>
            </a:r>
            <a:br/>
            <a:r>
              <a:t>или три строки (43 pt)</a:t>
            </a:r>
          </a:p>
        </p:txBody>
      </p:sp>
      <p:sp>
        <p:nvSpPr>
          <p:cNvPr id="40" name="Если нужно больше места,  то используйте подзаголовок (16 pt)"/>
          <p:cNvSpPr txBox="1">
            <a:spLocks noGrp="1"/>
          </p:cNvSpPr>
          <p:nvPr>
            <p:ph type="body" sz="quarter" idx="25"/>
          </p:nvPr>
        </p:nvSpPr>
        <p:spPr>
          <a:xfrm>
            <a:off x="1014505" y="4747187"/>
            <a:ext cx="4997854" cy="8865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pPr>
            <a:r>
              <a:t>Если нужно больше места, </a:t>
            </a:r>
            <a:br/>
            <a:r>
              <a:t>то используйте подзаголовок (16 pt)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621260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563465" y="944855"/>
            <a:ext cx="291284" cy="296931"/>
            <a:chOff x="7812275" y="2926746"/>
            <a:chExt cx="3880361" cy="3955593"/>
          </a:xfrm>
          <a:solidFill>
            <a:schemeClr val="bg1">
              <a:alpha val="64000"/>
            </a:schemeClr>
          </a:solidFill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8BD5040-D9A3-704D-8F8F-1923F1F56E6B}"/>
                </a:ext>
              </a:extLst>
            </p:cNvPr>
            <p:cNvSpPr/>
            <p:nvPr/>
          </p:nvSpPr>
          <p:spPr>
            <a:xfrm>
              <a:off x="7812275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486706FA-4114-1A43-9B20-A4727093BBF4}"/>
                </a:ext>
              </a:extLst>
            </p:cNvPr>
            <p:cNvSpPr/>
            <p:nvPr/>
          </p:nvSpPr>
          <p:spPr>
            <a:xfrm>
              <a:off x="9179801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1AE01166-8421-854A-8ACB-87E4A37AE2AB}"/>
                </a:ext>
              </a:extLst>
            </p:cNvPr>
            <p:cNvSpPr/>
            <p:nvPr/>
          </p:nvSpPr>
          <p:spPr>
            <a:xfrm>
              <a:off x="10547327" y="2926746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E46D0A3E-436B-774B-A9EC-D35AD78516D5}"/>
                </a:ext>
              </a:extLst>
            </p:cNvPr>
            <p:cNvSpPr/>
            <p:nvPr/>
          </p:nvSpPr>
          <p:spPr>
            <a:xfrm>
              <a:off x="7812275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ECDFD785-A22E-5A4F-B072-A6462E0B3A84}"/>
                </a:ext>
              </a:extLst>
            </p:cNvPr>
            <p:cNvSpPr/>
            <p:nvPr/>
          </p:nvSpPr>
          <p:spPr>
            <a:xfrm>
              <a:off x="9179801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2054912E-3892-DD41-ACAB-9C828D4BB97C}"/>
                </a:ext>
              </a:extLst>
            </p:cNvPr>
            <p:cNvSpPr/>
            <p:nvPr/>
          </p:nvSpPr>
          <p:spPr>
            <a:xfrm>
              <a:off x="10547327" y="4330895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9C2451E-E14A-8E4A-82D5-7B01521C462E}"/>
                </a:ext>
              </a:extLst>
            </p:cNvPr>
            <p:cNvSpPr/>
            <p:nvPr/>
          </p:nvSpPr>
          <p:spPr>
            <a:xfrm>
              <a:off x="7812275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ABD3A0D5-E436-9F4B-962C-B40AB9F42402}"/>
                </a:ext>
              </a:extLst>
            </p:cNvPr>
            <p:cNvSpPr/>
            <p:nvPr/>
          </p:nvSpPr>
          <p:spPr>
            <a:xfrm>
              <a:off x="9179801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A11A6C87-546C-8F4C-A406-6E976964DDD7}"/>
                </a:ext>
              </a:extLst>
            </p:cNvPr>
            <p:cNvSpPr/>
            <p:nvPr/>
          </p:nvSpPr>
          <p:spPr>
            <a:xfrm>
              <a:off x="10547327" y="5735044"/>
              <a:ext cx="1145309" cy="1147295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7" name="Freeform 136">
            <a:extLst>
              <a:ext uri="{FF2B5EF4-FFF2-40B4-BE49-F238E27FC236}">
                <a16:creationId xmlns:a16="http://schemas.microsoft.com/office/drawing/2014/main" id="{35179DCD-C738-A94B-A7D2-06AD11198EC5}"/>
              </a:ext>
            </a:extLst>
          </p:cNvPr>
          <p:cNvSpPr/>
          <p:nvPr/>
        </p:nvSpPr>
        <p:spPr>
          <a:xfrm>
            <a:off x="1292712" y="1036634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8" name="Freeform 137">
            <a:extLst>
              <a:ext uri="{FF2B5EF4-FFF2-40B4-BE49-F238E27FC236}">
                <a16:creationId xmlns:a16="http://schemas.microsoft.com/office/drawing/2014/main" id="{C8432FF6-52A7-2846-A8F7-FC292181C717}"/>
              </a:ext>
            </a:extLst>
          </p:cNvPr>
          <p:cNvSpPr/>
          <p:nvPr/>
        </p:nvSpPr>
        <p:spPr>
          <a:xfrm>
            <a:off x="1397420" y="1136383"/>
            <a:ext cx="99576" cy="99748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39" name="Freeform 138">
            <a:extLst>
              <a:ext uri="{FF2B5EF4-FFF2-40B4-BE49-F238E27FC236}">
                <a16:creationId xmlns:a16="http://schemas.microsoft.com/office/drawing/2014/main" id="{33B9A593-4F2E-D64D-BDEA-181F5781DE5A}"/>
              </a:ext>
            </a:extLst>
          </p:cNvPr>
          <p:cNvSpPr/>
          <p:nvPr/>
        </p:nvSpPr>
        <p:spPr>
          <a:xfrm>
            <a:off x="1417438" y="947426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0" name="Freeform 139">
            <a:extLst>
              <a:ext uri="{FF2B5EF4-FFF2-40B4-BE49-F238E27FC236}">
                <a16:creationId xmlns:a16="http://schemas.microsoft.com/office/drawing/2014/main" id="{8C787F8F-676C-4E47-9D5D-A816CF58C220}"/>
              </a:ext>
            </a:extLst>
          </p:cNvPr>
          <p:cNvSpPr/>
          <p:nvPr/>
        </p:nvSpPr>
        <p:spPr>
          <a:xfrm>
            <a:off x="1203145" y="1162605"/>
            <a:ext cx="71859" cy="71983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1" name="Freeform 140">
            <a:extLst>
              <a:ext uri="{FF2B5EF4-FFF2-40B4-BE49-F238E27FC236}">
                <a16:creationId xmlns:a16="http://schemas.microsoft.com/office/drawing/2014/main" id="{4285A921-F02E-AB44-AEEB-D5D56E2D2147}"/>
              </a:ext>
            </a:extLst>
          </p:cNvPr>
          <p:cNvSpPr/>
          <p:nvPr/>
        </p:nvSpPr>
        <p:spPr>
          <a:xfrm>
            <a:off x="1203145" y="949997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2" name="Freeform 141">
            <a:extLst>
              <a:ext uri="{FF2B5EF4-FFF2-40B4-BE49-F238E27FC236}">
                <a16:creationId xmlns:a16="http://schemas.microsoft.com/office/drawing/2014/main" id="{53251AD3-16FD-F54D-A012-96974B233FC8}"/>
              </a:ext>
            </a:extLst>
          </p:cNvPr>
          <p:cNvSpPr/>
          <p:nvPr/>
        </p:nvSpPr>
        <p:spPr>
          <a:xfrm>
            <a:off x="1344296" y="957709"/>
            <a:ext cx="53894" cy="53988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  <p:sp>
        <p:nvSpPr>
          <p:cNvPr id="143" name="Freeform 142">
            <a:extLst>
              <a:ext uri="{FF2B5EF4-FFF2-40B4-BE49-F238E27FC236}">
                <a16:creationId xmlns:a16="http://schemas.microsoft.com/office/drawing/2014/main" id="{FE95D203-16E4-5345-BBD5-5CBB8957E32B}"/>
              </a:ext>
            </a:extLst>
          </p:cNvPr>
          <p:cNvSpPr/>
          <p:nvPr/>
        </p:nvSpPr>
        <p:spPr>
          <a:xfrm>
            <a:off x="1409739" y="1059515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4" name="Freeform 143">
            <a:extLst>
              <a:ext uri="{FF2B5EF4-FFF2-40B4-BE49-F238E27FC236}">
                <a16:creationId xmlns:a16="http://schemas.microsoft.com/office/drawing/2014/main" id="{9A67F35D-C978-714A-91D8-0993C7A48710}"/>
              </a:ext>
            </a:extLst>
          </p:cNvPr>
          <p:cNvSpPr/>
          <p:nvPr/>
        </p:nvSpPr>
        <p:spPr>
          <a:xfrm>
            <a:off x="1297331" y="1152836"/>
            <a:ext cx="58514" cy="58615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5" name="Freeform 144">
            <a:extLst>
              <a:ext uri="{FF2B5EF4-FFF2-40B4-BE49-F238E27FC236}">
                <a16:creationId xmlns:a16="http://schemas.microsoft.com/office/drawing/2014/main" id="{DE95C6C6-C05E-6A4F-BC5A-33CD38B6435C}"/>
              </a:ext>
            </a:extLst>
          </p:cNvPr>
          <p:cNvSpPr/>
          <p:nvPr/>
        </p:nvSpPr>
        <p:spPr>
          <a:xfrm>
            <a:off x="1225986" y="1064913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6" name="Freeform 145">
            <a:extLst>
              <a:ext uri="{FF2B5EF4-FFF2-40B4-BE49-F238E27FC236}">
                <a16:creationId xmlns:a16="http://schemas.microsoft.com/office/drawing/2014/main" id="{25715F42-A331-F04E-BC28-451E68835BA0}"/>
              </a:ext>
            </a:extLst>
          </p:cNvPr>
          <p:cNvSpPr/>
          <p:nvPr/>
        </p:nvSpPr>
        <p:spPr>
          <a:xfrm>
            <a:off x="1276030" y="982389"/>
            <a:ext cx="42859" cy="42933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7" name="Freeform 146">
            <a:extLst>
              <a:ext uri="{FF2B5EF4-FFF2-40B4-BE49-F238E27FC236}">
                <a16:creationId xmlns:a16="http://schemas.microsoft.com/office/drawing/2014/main" id="{A3C597B9-2901-284E-B738-7BA888DE8940}"/>
              </a:ext>
            </a:extLst>
          </p:cNvPr>
          <p:cNvSpPr/>
          <p:nvPr/>
        </p:nvSpPr>
        <p:spPr>
          <a:xfrm>
            <a:off x="1525482" y="903722"/>
            <a:ext cx="10265" cy="379198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4000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48" name="Graphic 122">
            <a:extLst>
              <a:ext uri="{FF2B5EF4-FFF2-40B4-BE49-F238E27FC236}">
                <a16:creationId xmlns:a16="http://schemas.microsoft.com/office/drawing/2014/main" id="{BC8B2B37-B07F-9248-A69D-747BC3D594F6}"/>
              </a:ext>
            </a:extLst>
          </p:cNvPr>
          <p:cNvGrpSpPr/>
          <p:nvPr userDrawn="1"/>
        </p:nvGrpSpPr>
        <p:grpSpPr>
          <a:xfrm>
            <a:off x="1937643" y="982904"/>
            <a:ext cx="746559" cy="219549"/>
            <a:chOff x="12796915" y="3433612"/>
            <a:chExt cx="9945355" cy="2924740"/>
          </a:xfrm>
          <a:solidFill>
            <a:schemeClr val="bg1">
              <a:alpha val="64000"/>
            </a:schemeClr>
          </a:solidFill>
        </p:grpSpPr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DEB586AE-D533-1348-B0D1-D8824F368E91}"/>
                </a:ext>
              </a:extLst>
            </p:cNvPr>
            <p:cNvSpPr/>
            <p:nvPr/>
          </p:nvSpPr>
          <p:spPr>
            <a:xfrm>
              <a:off x="12796915" y="3433612"/>
              <a:ext cx="1996587" cy="2924740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A931BF6F-2A9D-814C-9FC5-E069B4833FA6}"/>
                </a:ext>
              </a:extLst>
            </p:cNvPr>
            <p:cNvSpPr/>
            <p:nvPr/>
          </p:nvSpPr>
          <p:spPr>
            <a:xfrm>
              <a:off x="16378705" y="3498688"/>
              <a:ext cx="2640473" cy="2808296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853D6E94-E89E-5B46-9637-094BCCB61113}"/>
                </a:ext>
              </a:extLst>
            </p:cNvPr>
            <p:cNvSpPr/>
            <p:nvPr/>
          </p:nvSpPr>
          <p:spPr>
            <a:xfrm>
              <a:off x="20745683" y="3433612"/>
              <a:ext cx="1996587" cy="2924740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A589429-A1AF-004B-B2D6-830BA0D37AD6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AB0CFB5-7B28-A547-9873-724E922701E8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17F27F7-E63D-6148-849A-E6ED639EE234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8A4B448-E5A4-A849-9533-BBF2A5A95779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65B724E-7DCC-D34B-81BE-12512A31D817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DB80A66-A424-7C4E-84A9-8E4A6DEC2F3D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E2E51638-BBA2-FB4C-856C-5FC3147D06B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7F39F30-9AF6-1449-93B0-EC8BA6A71583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D4ECF33D-C9D3-2340-B48B-4538B6D4AD5B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FA971CDB-E6EC-7048-B5DF-732D1B23F661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EC4F9-B287-4A42-A848-BDA400528D20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203157" y="1813674"/>
            <a:ext cx="10437979" cy="1846659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 lang="x-none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149094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F7B8B5-F108-864E-9E02-84965A67A78E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203156" y="5430462"/>
            <a:ext cx="10437979" cy="307777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5F003958-C4F0-AA4F-B513-5811C1FBCBE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203145" y="5909682"/>
            <a:ext cx="2448000" cy="246221"/>
          </a:xfr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/>
            <a:r>
              <a:rPr lang="ru-RU"/>
              <a:t>Дат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0921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3EAC3D44-3270-6F41-A7FA-7D887C09EA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00388" y="548311"/>
            <a:ext cx="1471612" cy="7477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11199C73-5CB8-3043-9692-EE578ED2C9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Background pic</a:t>
            </a:r>
          </a:p>
        </p:txBody>
      </p:sp>
    </p:spTree>
    <p:extLst>
      <p:ext uri="{BB962C8B-B14F-4D97-AF65-F5344CB8AC3E}">
        <p14:creationId xmlns:p14="http://schemas.microsoft.com/office/powerpoint/2010/main" val="40104683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369332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pPr algn="ctr">
                <a:defRPr/>
              </a:p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2027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EE3AC01-CE52-574B-8B6C-03931E756D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9693513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pPr algn="ctr">
                <a:defRPr/>
              </a:p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9821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0847" y="3121224"/>
            <a:ext cx="3694307" cy="615553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Заголовок</a:t>
            </a:r>
            <a:endParaRPr lang="x-none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A6154E-D906-D04B-9DF4-EEEF72614A4D}"/>
              </a:ext>
            </a:extLst>
          </p:cNvPr>
          <p:cNvGrpSpPr/>
          <p:nvPr userDrawn="1"/>
        </p:nvGrpSpPr>
        <p:grpSpPr>
          <a:xfrm>
            <a:off x="8312338" y="2978338"/>
            <a:ext cx="3879662" cy="3879662"/>
            <a:chOff x="7758019" y="2373607"/>
            <a:chExt cx="4125917" cy="412591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CDA4508-FBF6-7B4F-A16E-0AC26D92015B}"/>
                </a:ext>
              </a:extLst>
            </p:cNvPr>
            <p:cNvSpPr/>
            <p:nvPr/>
          </p:nvSpPr>
          <p:spPr>
            <a:xfrm>
              <a:off x="10875215" y="2373607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6BE70485-2581-024F-A7F0-C6887C5EAA47}"/>
                </a:ext>
              </a:extLst>
            </p:cNvPr>
            <p:cNvSpPr/>
            <p:nvPr/>
          </p:nvSpPr>
          <p:spPr>
            <a:xfrm>
              <a:off x="7758019" y="5490803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7025CF4-7823-B849-9A42-07EEF4251D39}"/>
                </a:ext>
              </a:extLst>
            </p:cNvPr>
            <p:cNvSpPr/>
            <p:nvPr/>
          </p:nvSpPr>
          <p:spPr>
            <a:xfrm>
              <a:off x="8738562" y="2801604"/>
              <a:ext cx="588225" cy="588225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74D143E-7199-274E-A4B6-B07C8E902B59}"/>
                </a:ext>
              </a:extLst>
            </p:cNvPr>
            <p:cNvSpPr/>
            <p:nvPr/>
          </p:nvSpPr>
          <p:spPr>
            <a:xfrm>
              <a:off x="10699315" y="3898858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D4BADA9-955C-D246-B4EF-080C5AF9DAD5}"/>
                </a:ext>
              </a:extLst>
            </p:cNvPr>
            <p:cNvSpPr/>
            <p:nvPr/>
          </p:nvSpPr>
          <p:spPr>
            <a:xfrm>
              <a:off x="9068355" y="5271553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25D8423-5F63-6F49-99C9-4DF90B8A1151}"/>
                </a:ext>
              </a:extLst>
            </p:cNvPr>
            <p:cNvSpPr/>
            <p:nvPr/>
          </p:nvSpPr>
          <p:spPr>
            <a:xfrm>
              <a:off x="8023787" y="3987392"/>
              <a:ext cx="624072" cy="624072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C56157B-050A-C845-94B7-4FF34DE05834}"/>
                </a:ext>
              </a:extLst>
            </p:cNvPr>
            <p:cNvSpPr/>
            <p:nvPr/>
          </p:nvSpPr>
          <p:spPr>
            <a:xfrm>
              <a:off x="8875947" y="3536053"/>
              <a:ext cx="1471064" cy="1471064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3461D8-4E1B-F346-ABF9-7869F6A279EC}"/>
                </a:ext>
              </a:extLst>
            </p:cNvPr>
            <p:cNvSpPr/>
            <p:nvPr/>
          </p:nvSpPr>
          <p:spPr>
            <a:xfrm>
              <a:off x="10476562" y="5092150"/>
              <a:ext cx="1407374" cy="1407374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BC7B5B3-EE82-1A4D-A243-37ECBAFABA2B}"/>
                </a:ext>
              </a:extLst>
            </p:cNvPr>
            <p:cNvSpPr/>
            <p:nvPr/>
          </p:nvSpPr>
          <p:spPr>
            <a:xfrm>
              <a:off x="7758019" y="2373607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3C32989-2C0A-0C47-AC10-0F9572F4991B}"/>
                </a:ext>
              </a:extLst>
            </p:cNvPr>
            <p:cNvSpPr/>
            <p:nvPr/>
          </p:nvSpPr>
          <p:spPr>
            <a:xfrm>
              <a:off x="9747282" y="2494986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AB7332F-FCFD-6647-BAE6-0B153115D91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x-none" sz="1400" b="1"/>
          </a:p>
        </p:txBody>
      </p:sp>
    </p:spTree>
    <p:extLst>
      <p:ext uri="{BB962C8B-B14F-4D97-AF65-F5344CB8AC3E}">
        <p14:creationId xmlns:p14="http://schemas.microsoft.com/office/powerpoint/2010/main" val="13123300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row: Pentagon 32">
            <a:extLst>
              <a:ext uri="{FF2B5EF4-FFF2-40B4-BE49-F238E27FC236}">
                <a16:creationId xmlns:a16="http://schemas.microsoft.com/office/drawing/2014/main" id="{99DAB22F-91D8-404E-BFA7-58AA16117896}"/>
              </a:ext>
            </a:extLst>
          </p:cNvPr>
          <p:cNvSpPr/>
          <p:nvPr userDrawn="1"/>
        </p:nvSpPr>
        <p:spPr>
          <a:xfrm>
            <a:off x="0" y="448"/>
            <a:ext cx="8298194" cy="6857552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6260169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40656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5622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EE3AC01-CE52-574B-8B6C-03931E756D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9693513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70D9B08-BF1F-D747-A699-AA29CB826EA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379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x-none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3092669" cy="4372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290833-E380-9144-921E-7981C45A8E00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C70A0AE9-9071-C247-85CC-AA9C40D7F03D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pPr algn="ctr">
                <a:defRPr/>
              </a:p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B2A947-B59F-4641-A9AC-86F90A23A2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7389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8122371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x-none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7066800" cy="4372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257CBA9-8590-AE43-8CB4-9C9EDD1224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70668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8637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3750CABC-2070-3045-9979-5EB6FF8AA8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64784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12181EAB-F7DD-9E41-87E1-36C960A594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630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C4B0EEE-BB90-6E4F-BD1C-F5D4DAC260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07821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EF81ACC-E8D8-A84D-A3FF-79C0E8DFA0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9342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BC5280-07C4-5648-8F89-3AB2A146E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pPr algn="ctr">
                <a:defRPr/>
              </a:p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DEC1154-29E1-4843-A9B8-8161644685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5965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E720B4A-FFE4-B741-BACA-7DEFF080782F}"/>
              </a:ext>
            </a:extLst>
          </p:cNvPr>
          <p:cNvSpPr/>
          <p:nvPr userDrawn="1"/>
        </p:nvSpPr>
        <p:spPr>
          <a:xfrm>
            <a:off x="0" y="1215189"/>
            <a:ext cx="3862137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E67AC2-2EAD-B34F-B2A4-8E4B4C4A6A83}"/>
              </a:ext>
            </a:extLst>
          </p:cNvPr>
          <p:cNvCxnSpPr>
            <a:cxnSpLocks/>
          </p:cNvCxnSpPr>
          <p:nvPr userDrawn="1"/>
        </p:nvCxnSpPr>
        <p:spPr>
          <a:xfrm>
            <a:off x="566939" y="3780809"/>
            <a:ext cx="792629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333" y="2582949"/>
            <a:ext cx="3078629" cy="738664"/>
          </a:xfrm>
        </p:spPr>
        <p:txBody>
          <a:bodyPr vert="horz"/>
          <a:lstStyle>
            <a:lvl1pPr>
              <a:defRPr sz="2400"/>
            </a:lvl1pPr>
          </a:lstStyle>
          <a:p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pPr algn="ctr">
                <a:defRPr/>
              </a:p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37EEDB8-49D1-D244-928D-D95B3B5AB1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6939" y="0"/>
            <a:ext cx="2549240" cy="254945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A7FE9F-1BEE-CC4D-AD27-C477FA21FD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333" y="3321612"/>
            <a:ext cx="30559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763EB7E-C3F6-7C46-ABF7-DD7FE5AE82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118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157" y="3694067"/>
            <a:ext cx="10437979" cy="738664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x-none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73F2CC7-906E-0A43-8BC5-CAEFB87F11CB}"/>
              </a:ext>
            </a:extLst>
          </p:cNvPr>
          <p:cNvCxnSpPr/>
          <p:nvPr userDrawn="1"/>
        </p:nvCxnSpPr>
        <p:spPr>
          <a:xfrm>
            <a:off x="1203157" y="4728411"/>
            <a:ext cx="1491916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039A95A-0241-834F-99E5-43B101E36DDD}"/>
              </a:ext>
            </a:extLst>
          </p:cNvPr>
          <p:cNvGrpSpPr/>
          <p:nvPr userDrawn="1"/>
        </p:nvGrpSpPr>
        <p:grpSpPr>
          <a:xfrm>
            <a:off x="8312338" y="3046281"/>
            <a:ext cx="3879660" cy="3811720"/>
            <a:chOff x="8312338" y="3046281"/>
            <a:chExt cx="3879660" cy="3811720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BB1D06B-DE12-1040-AA63-264EB7B5A67A}"/>
                </a:ext>
              </a:extLst>
            </p:cNvPr>
            <p:cNvSpPr/>
            <p:nvPr/>
          </p:nvSpPr>
          <p:spPr>
            <a:xfrm>
              <a:off x="9494872" y="4224080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62C84BC-0543-554D-862F-33CAB0F014BF}"/>
                </a:ext>
              </a:extLst>
            </p:cNvPr>
            <p:cNvSpPr/>
            <p:nvPr/>
          </p:nvSpPr>
          <p:spPr>
            <a:xfrm>
              <a:off x="10877320" y="5541041"/>
              <a:ext cx="1314678" cy="1316960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619FD709-138E-C943-87BE-E2A14FC5E990}"/>
                </a:ext>
              </a:extLst>
            </p:cNvPr>
            <p:cNvSpPr/>
            <p:nvPr/>
          </p:nvSpPr>
          <p:spPr>
            <a:xfrm>
              <a:off x="11141610" y="3046281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70859DDC-6596-4843-9603-982CD2DDD0CC}"/>
                </a:ext>
              </a:extLst>
            </p:cNvPr>
            <p:cNvSpPr/>
            <p:nvPr/>
          </p:nvSpPr>
          <p:spPr>
            <a:xfrm>
              <a:off x="8312338" y="5887253"/>
              <a:ext cx="948737" cy="950384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EB74981-D994-E449-8EFE-FDD59D63F8E5}"/>
                </a:ext>
              </a:extLst>
            </p:cNvPr>
            <p:cNvSpPr/>
            <p:nvPr/>
          </p:nvSpPr>
          <p:spPr>
            <a:xfrm>
              <a:off x="8312338" y="3080224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4EB3CD7-499A-4A4A-8338-3C16D89DB93E}"/>
                </a:ext>
              </a:extLst>
            </p:cNvPr>
            <p:cNvSpPr/>
            <p:nvPr/>
          </p:nvSpPr>
          <p:spPr>
            <a:xfrm>
              <a:off x="10175930" y="3182050"/>
              <a:ext cx="711554" cy="712787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3EFE07-EE67-B341-B594-AA5B8B330EED}"/>
                </a:ext>
              </a:extLst>
            </p:cNvPr>
            <p:cNvSpPr/>
            <p:nvPr/>
          </p:nvSpPr>
          <p:spPr>
            <a:xfrm>
              <a:off x="11039959" y="4526166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3F625451-0534-4F4E-99B0-C1836CEE3855}"/>
                </a:ext>
              </a:extLst>
            </p:cNvPr>
            <p:cNvSpPr/>
            <p:nvPr/>
          </p:nvSpPr>
          <p:spPr>
            <a:xfrm>
              <a:off x="9555861" y="5758273"/>
              <a:ext cx="772543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375CC17-1B77-694D-8E5A-97028735B056}"/>
                </a:ext>
              </a:extLst>
            </p:cNvPr>
            <p:cNvSpPr/>
            <p:nvPr/>
          </p:nvSpPr>
          <p:spPr>
            <a:xfrm>
              <a:off x="8613900" y="4597446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DDDA135-170F-E545-872E-277F8BA7DEC6}"/>
                </a:ext>
              </a:extLst>
            </p:cNvPr>
            <p:cNvSpPr/>
            <p:nvPr/>
          </p:nvSpPr>
          <p:spPr>
            <a:xfrm>
              <a:off x="9274630" y="3507897"/>
              <a:ext cx="565853" cy="566837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154367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>
            <a:extLst>
              <a:ext uri="{FF2B5EF4-FFF2-40B4-BE49-F238E27FC236}">
                <a16:creationId xmlns:a16="http://schemas.microsoft.com/office/drawing/2014/main" id="{AB57EBE9-176D-5F4D-8209-6E45FB780C4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36035" y="-2037"/>
            <a:ext cx="10455965" cy="6860038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AD1E6E-469A-464E-8995-70D252AACB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1687EA-BFFB-BC43-969A-1490C3D9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5663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_2 (With sourc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x-none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 panose="020B0703020202090204" pitchFamily="34" charset="0"/>
              </a:rPr>
              <a:pPr algn="ctr">
                <a:defRPr/>
              </a:pPr>
              <a:t>‹#›</a:t>
            </a:fld>
            <a:endParaRPr lang="ru-RU" sz="1000" b="0" i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8077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33EF7B-9EEC-4EE5-939B-2FA4DD1D2A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BF8E27-B1FC-465A-976C-153C3EE80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EB46EE-F091-4204-A057-7A91BEB6D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E7D48-C32B-4408-8A91-1DE9F4EF94C1}" type="datetimeFigureOut">
              <a:rPr lang="ru-RU" smtClean="0"/>
              <a:pPr/>
              <a:t>25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67CE07-D312-41D8-B28E-52DEFC10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432E626-3958-4A1D-878C-4D397CD8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2B29E-F3D3-4AA5-A4FD-8F5B5BEB040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7483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DB51C-22D4-CB1E-717F-53C377774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AFCF21-9D0F-9652-07FB-A9889739AD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9997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>
              <a:solidFill>
                <a:schemeClr val="tx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6244" y="388154"/>
            <a:ext cx="11520000" cy="30777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6244" y="146305"/>
            <a:ext cx="11520000" cy="184666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accent4"/>
                </a:solidFill>
                <a:latin typeface="+mj-lt"/>
              </a:defRPr>
            </a:lvl1pPr>
          </a:lstStyle>
          <a:p>
            <a:endParaRPr lang="ru-RU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50" y="6312181"/>
            <a:ext cx="11520488" cy="138499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+mj-lt"/>
              </a:defRPr>
            </a:lvl1pPr>
            <a:lvl2pPr marL="457224" indent="0" algn="ctr">
              <a:buNone/>
              <a:defRPr sz="2000"/>
            </a:lvl2pPr>
            <a:lvl3pPr marL="914446" indent="0" algn="ctr">
              <a:buNone/>
              <a:defRPr sz="1801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8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1 – </a:t>
            </a:r>
            <a:r>
              <a:rPr lang="ru-RU"/>
              <a:t>текст снос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36245" y="6504109"/>
            <a:ext cx="9360000" cy="138499"/>
          </a:xfrm>
        </p:spPr>
        <p:txBody>
          <a:bodyPr wrap="square" anchor="t" anchorCtr="0">
            <a:sp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Источник: анализ </a:t>
            </a:r>
            <a:r>
              <a:rPr lang="en-US"/>
              <a:t>Strategy Partners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7908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82649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0847" y="3121224"/>
            <a:ext cx="3694307" cy="615553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ru-RU"/>
              <a:t>Заголовок</a:t>
            </a:r>
            <a:endParaRPr lang="en-RU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A6154E-D906-D04B-9DF4-EEEF72614A4D}"/>
              </a:ext>
            </a:extLst>
          </p:cNvPr>
          <p:cNvGrpSpPr/>
          <p:nvPr userDrawn="1"/>
        </p:nvGrpSpPr>
        <p:grpSpPr>
          <a:xfrm>
            <a:off x="8312338" y="2978338"/>
            <a:ext cx="3879662" cy="3879662"/>
            <a:chOff x="7758019" y="2373607"/>
            <a:chExt cx="4125917" cy="412591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CDA4508-FBF6-7B4F-A16E-0AC26D92015B}"/>
                </a:ext>
              </a:extLst>
            </p:cNvPr>
            <p:cNvSpPr/>
            <p:nvPr/>
          </p:nvSpPr>
          <p:spPr>
            <a:xfrm>
              <a:off x="10875215" y="2373607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6BE70485-2581-024F-A7F0-C6887C5EAA47}"/>
                </a:ext>
              </a:extLst>
            </p:cNvPr>
            <p:cNvSpPr/>
            <p:nvPr/>
          </p:nvSpPr>
          <p:spPr>
            <a:xfrm>
              <a:off x="7758019" y="5490803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7025CF4-7823-B849-9A42-07EEF4251D39}"/>
                </a:ext>
              </a:extLst>
            </p:cNvPr>
            <p:cNvSpPr/>
            <p:nvPr/>
          </p:nvSpPr>
          <p:spPr>
            <a:xfrm>
              <a:off x="8738562" y="2801604"/>
              <a:ext cx="588225" cy="588225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74D143E-7199-274E-A4B6-B07C8E902B59}"/>
                </a:ext>
              </a:extLst>
            </p:cNvPr>
            <p:cNvSpPr/>
            <p:nvPr/>
          </p:nvSpPr>
          <p:spPr>
            <a:xfrm>
              <a:off x="10699315" y="3898858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D4BADA9-955C-D246-B4EF-080C5AF9DAD5}"/>
                </a:ext>
              </a:extLst>
            </p:cNvPr>
            <p:cNvSpPr/>
            <p:nvPr/>
          </p:nvSpPr>
          <p:spPr>
            <a:xfrm>
              <a:off x="9068355" y="5271553"/>
              <a:ext cx="841489" cy="841489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25D8423-5F63-6F49-99C9-4DF90B8A1151}"/>
                </a:ext>
              </a:extLst>
            </p:cNvPr>
            <p:cNvSpPr/>
            <p:nvPr/>
          </p:nvSpPr>
          <p:spPr>
            <a:xfrm>
              <a:off x="8023787" y="3987392"/>
              <a:ext cx="624072" cy="624072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C56157B-050A-C845-94B7-4FF34DE05834}"/>
                </a:ext>
              </a:extLst>
            </p:cNvPr>
            <p:cNvSpPr/>
            <p:nvPr/>
          </p:nvSpPr>
          <p:spPr>
            <a:xfrm>
              <a:off x="8875947" y="3536053"/>
              <a:ext cx="1471064" cy="1471064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3461D8-4E1B-F346-ABF9-7869F6A279EC}"/>
                </a:ext>
              </a:extLst>
            </p:cNvPr>
            <p:cNvSpPr/>
            <p:nvPr/>
          </p:nvSpPr>
          <p:spPr>
            <a:xfrm>
              <a:off x="10476562" y="5092150"/>
              <a:ext cx="1407374" cy="1407374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BC7B5B3-EE82-1A4D-A243-37ECBAFABA2B}"/>
                </a:ext>
              </a:extLst>
            </p:cNvPr>
            <p:cNvSpPr/>
            <p:nvPr/>
          </p:nvSpPr>
          <p:spPr>
            <a:xfrm>
              <a:off x="7758019" y="2373607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33C32989-2C0A-0C47-AC10-0F9572F4991B}"/>
                </a:ext>
              </a:extLst>
            </p:cNvPr>
            <p:cNvSpPr/>
            <p:nvPr/>
          </p:nvSpPr>
          <p:spPr>
            <a:xfrm>
              <a:off x="9747282" y="2494986"/>
              <a:ext cx="765960" cy="765960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AB7332F-FCFD-6647-BAE6-0B153115D912}"/>
              </a:ext>
            </a:extLst>
          </p:cNvPr>
          <p:cNvSpPr/>
          <p:nvPr userDrawn="1"/>
        </p:nvSpPr>
        <p:spPr>
          <a:xfrm>
            <a:off x="6095999" y="0"/>
            <a:ext cx="6096001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</p:spTree>
    <p:extLst>
      <p:ext uri="{BB962C8B-B14F-4D97-AF65-F5344CB8AC3E}">
        <p14:creationId xmlns:p14="http://schemas.microsoft.com/office/powerpoint/2010/main" val="34065801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">
    <p:bg>
      <p:bgPr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4860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row: Pentagon 32">
            <a:extLst>
              <a:ext uri="{FF2B5EF4-FFF2-40B4-BE49-F238E27FC236}">
                <a16:creationId xmlns:a16="http://schemas.microsoft.com/office/drawing/2014/main" id="{99DAB22F-91D8-404E-BFA7-58AA16117896}"/>
              </a:ext>
            </a:extLst>
          </p:cNvPr>
          <p:cNvSpPr/>
          <p:nvPr userDrawn="1"/>
        </p:nvSpPr>
        <p:spPr>
          <a:xfrm>
            <a:off x="0" y="448"/>
            <a:ext cx="8298194" cy="6857552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6260169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470635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22528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3092669" cy="4372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D290833-E380-9144-921E-7981C45A8E00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C70A0AE9-9071-C247-85CC-AA9C40D7F03D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B2A947-B59F-4641-A9AC-86F90A23A2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226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34470EC-990B-F141-8469-775FC523B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03338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34470EC-990B-F141-8469-775FC523B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53E1A4D-FDB2-8546-853D-32EE81F32263}"/>
              </a:ext>
            </a:extLst>
          </p:cNvPr>
          <p:cNvSpPr/>
          <p:nvPr userDrawn="1"/>
        </p:nvSpPr>
        <p:spPr>
          <a:xfrm>
            <a:off x="8122371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RU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3B9391-7C88-F840-833E-B7D60DB63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7066800" cy="4372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257CBA9-8590-AE43-8CB4-9C9EDD1224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6366735"/>
            <a:ext cx="7066800" cy="153888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tx1"/>
                </a:solidFill>
                <a:latin typeface="Trebuchet MS" panose="020B0703020202090204" pitchFamily="34" charset="0"/>
                <a:ea typeface="ＭＳ Ｐゴシック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ru-RU"/>
              <a:t>Источни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2995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53E220-791B-7841-B174-B3FA24CE6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53033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53E220-791B-7841-B174-B3FA24CE6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3750CABC-2070-3045-9979-5EB6FF8AA8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64784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12181EAB-F7DD-9E41-87E1-36C960A594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8630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C4B0EEE-BB90-6E4F-BD1C-F5D4DAC260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07821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BEF81ACC-E8D8-A84D-A3FF-79C0E8DFA0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29342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BC5280-07C4-5648-8F89-3AB2A146E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3" y="1131861"/>
            <a:ext cx="1713600" cy="17145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A3EB45-D286-F14A-9377-F37B1F5C35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88177"/>
            <a:ext cx="11090274" cy="437236"/>
          </a:xfrm>
        </p:spPr>
        <p:txBody>
          <a:bodyPr vert="horz"/>
          <a:lstStyle/>
          <a:p>
            <a:r>
              <a:rPr lang="ru-RU"/>
              <a:t>Заголовок</a:t>
            </a:r>
            <a:endParaRPr lang="en-RU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6EACA3-C5C5-5A4A-AA27-2E4FA0A51471}"/>
              </a:ext>
            </a:extLst>
          </p:cNvPr>
          <p:cNvSpPr/>
          <p:nvPr userDrawn="1"/>
        </p:nvSpPr>
        <p:spPr>
          <a:xfrm>
            <a:off x="11695559" y="6343651"/>
            <a:ext cx="496441" cy="192262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400" b="1"/>
          </a:p>
        </p:txBody>
      </p:sp>
      <p:sp>
        <p:nvSpPr>
          <p:cNvPr id="49" name="TextBox 1">
            <a:extLst>
              <a:ext uri="{FF2B5EF4-FFF2-40B4-BE49-F238E27FC236}">
                <a16:creationId xmlns:a16="http://schemas.microsoft.com/office/drawing/2014/main" id="{72A05FE2-0F97-CE4F-A691-05BAB57558AE}"/>
              </a:ext>
            </a:extLst>
          </p:cNvPr>
          <p:cNvSpPr>
            <a:spLocks noAdjustHandles="1"/>
          </p:cNvSpPr>
          <p:nvPr userDrawn="1"/>
        </p:nvSpPr>
        <p:spPr bwMode="auto">
          <a:xfrm>
            <a:off x="11580440" y="6315089"/>
            <a:ext cx="475122" cy="244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 kern="1200">
                <a:solidFill>
                  <a:schemeClr val="bg1"/>
                </a:solidFill>
                <a:latin typeface="Trebuchet MS" panose="020B0703020202090204" pitchFamily="34" charset="0"/>
                <a:ea typeface="ＭＳ Ｐゴシック" charset="0"/>
              </a:rPr>
              <a:t>‹#›</a:t>
            </a:fld>
            <a:endParaRPr lang="ru-RU" sz="1000" b="0" i="0" kern="1200">
              <a:solidFill>
                <a:schemeClr val="bg1"/>
              </a:solidFill>
              <a:latin typeface="Trebuchet MS" panose="020B0703020202090204" pitchFamily="34" charset="0"/>
              <a:ea typeface="ＭＳ Ｐゴシック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DEC1154-29E1-4843-A9B8-8161644685E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80251" y="6318747"/>
            <a:ext cx="959181" cy="24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662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5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9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0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37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04C95AC-6044-4FAF-AEE8-A6E557FBE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04000069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0" imgW="421" imgH="423" progId="TCLayout.ActiveDocument.1">
                  <p:embed/>
                </p:oleObj>
              </mc:Choice>
              <mc:Fallback>
                <p:oleObj name="Слайд think-cell" r:id="rId20" imgW="421" imgH="42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04C95AC-6044-4FAF-AEE8-A6E557FBE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8F396-1F3F-4AF1-A963-C32EEC8CFF5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2"/>
            <a:ext cx="195384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i="0" baseline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Заголовок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6C80EA-B456-BA4C-9C94-629D47088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385" r:id="rId3"/>
    <p:sldLayoutId id="2147484437" r:id="rId4"/>
    <p:sldLayoutId id="2147484431" r:id="rId5"/>
    <p:sldLayoutId id="2147484436" r:id="rId6"/>
    <p:sldLayoutId id="2147484389" r:id="rId7"/>
    <p:sldLayoutId id="2147484426" r:id="rId8"/>
    <p:sldLayoutId id="2147484427" r:id="rId9"/>
    <p:sldLayoutId id="2147484425" r:id="rId10"/>
    <p:sldLayoutId id="2147484423" r:id="rId11"/>
    <p:sldLayoutId id="2147484405" r:id="rId12"/>
    <p:sldLayoutId id="2147484438" r:id="rId13"/>
    <p:sldLayoutId id="2147484439" r:id="rId14"/>
    <p:sldLayoutId id="2147484440" r:id="rId15"/>
    <p:sldLayoutId id="2147484441" r:id="rId16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800" b="1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95261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6pPr>
      <a:lvl7pPr marL="99052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7pPr>
      <a:lvl8pPr marL="148578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8pPr>
      <a:lvl9pPr marL="1981040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16000" indent="-216000" algn="l" rtl="0" eaLnBrk="0" fontAlgn="base" hangingPunct="0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 panose="020B0600040502020204" pitchFamily="34" charset="0"/>
        <a:buChar char="▪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432000" indent="-216000" algn="l" rtl="0" eaLnBrk="0" fontAlgn="base" hangingPunct="0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 panose="020B0600040502020204" pitchFamily="34" charset="0"/>
        <a:buNone/>
        <a:defRPr sz="1600" b="0" i="0">
          <a:solidFill>
            <a:schemeClr val="accent1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chemeClr val="accent6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723931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6pPr>
      <a:lvl7pPr marL="321919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7pPr>
      <a:lvl8pPr marL="371445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8pPr>
      <a:lvl9pPr marL="4209709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73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04C95AC-6044-4FAF-AEE8-A6E557FBEB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0516271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1" imgW="421" imgH="423" progId="TCLayout.ActiveDocument.1">
                  <p:embed/>
                </p:oleObj>
              </mc:Choice>
              <mc:Fallback>
                <p:oleObj name="Слайд think-cell" r:id="rId21" imgW="421" imgH="42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04C95AC-6044-4FAF-AEE8-A6E557FBE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8F396-1F3F-4AF1-A963-C32EEC8CFF5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2"/>
            <a:ext cx="195384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i="0" baseline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Заголовок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6C80EA-B456-BA4C-9C94-629D47088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566833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  <p:sldLayoutId id="2147484455" r:id="rId13"/>
    <p:sldLayoutId id="2147484456" r:id="rId14"/>
    <p:sldLayoutId id="2147484457" r:id="rId15"/>
    <p:sldLayoutId id="2147484458" r:id="rId16"/>
    <p:sldLayoutId id="2147484476" r:id="rId17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800" b="1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95261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6pPr>
      <a:lvl7pPr marL="99052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7pPr>
      <a:lvl8pPr marL="148578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8pPr>
      <a:lvl9pPr marL="1981040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16000" indent="-216000" algn="l" rtl="0" eaLnBrk="0" fontAlgn="base" hangingPunct="0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 panose="020B0600040502020204" pitchFamily="34" charset="0"/>
        <a:buChar char="▪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432000" indent="-216000" algn="l" rtl="0" eaLnBrk="0" fontAlgn="base" hangingPunct="0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 panose="020B0600040502020204" pitchFamily="34" charset="0"/>
        <a:buNone/>
        <a:defRPr sz="1600" b="0" i="0">
          <a:solidFill>
            <a:schemeClr val="accent1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chemeClr val="accent6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723931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6pPr>
      <a:lvl7pPr marL="321919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7pPr>
      <a:lvl8pPr marL="371445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8pPr>
      <a:lvl9pPr marL="4209709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347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pos="733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4D4C1C1-9280-BFDE-33A0-B9208A841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9985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0" imgW="425" imgH="424" progId="TCLayout.ActiveDocument.1">
                  <p:embed/>
                </p:oleObj>
              </mc:Choice>
              <mc:Fallback>
                <p:oleObj name="Слайд think-cell" r:id="rId20" imgW="425" imgH="424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F4D4C1C1-9280-BFDE-33A0-B9208A841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58F396-1F3F-4AF1-A963-C32EEC8CFF5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2"/>
            <a:ext cx="195384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2800" b="1" i="0" baseline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50863" y="388177"/>
            <a:ext cx="11090274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Заголовок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6C80EA-B456-BA4C-9C94-629D47088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400692"/>
            <a:ext cx="1109027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69181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0" r:id="rId1"/>
    <p:sldLayoutId id="2147484461" r:id="rId2"/>
    <p:sldLayoutId id="2147484462" r:id="rId3"/>
    <p:sldLayoutId id="2147484463" r:id="rId4"/>
    <p:sldLayoutId id="2147484464" r:id="rId5"/>
    <p:sldLayoutId id="2147484465" r:id="rId6"/>
    <p:sldLayoutId id="2147484466" r:id="rId7"/>
    <p:sldLayoutId id="2147484467" r:id="rId8"/>
    <p:sldLayoutId id="2147484468" r:id="rId9"/>
    <p:sldLayoutId id="2147484469" r:id="rId10"/>
    <p:sldLayoutId id="2147484470" r:id="rId11"/>
    <p:sldLayoutId id="2147484471" r:id="rId12"/>
    <p:sldLayoutId id="2147484472" r:id="rId13"/>
    <p:sldLayoutId id="2147484473" r:id="rId14"/>
    <p:sldLayoutId id="2147484474" r:id="rId15"/>
    <p:sldLayoutId id="2147484475" r:id="rId16"/>
  </p:sldLayoutIdLst>
  <p:hf hdr="0" dt="0"/>
  <p:txStyles>
    <p:title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800" b="1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167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95261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6pPr>
      <a:lvl7pPr marL="99052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7pPr>
      <a:lvl8pPr marL="1485782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8pPr>
      <a:lvl9pPr marL="1981040" algn="l" rtl="0" fontAlgn="base">
        <a:spcBef>
          <a:spcPct val="0"/>
        </a:spcBef>
        <a:spcAft>
          <a:spcPct val="0"/>
        </a:spcAft>
        <a:defRPr sz="2167">
          <a:solidFill>
            <a:srgbClr val="000000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16000" indent="-216000" algn="l" rtl="0" eaLnBrk="0" fontAlgn="base" hangingPunct="0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 panose="020B0600040502020204" pitchFamily="34" charset="0"/>
        <a:buChar char="▪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432000" indent="-216000" algn="l" rtl="0" eaLnBrk="0" fontAlgn="base" hangingPunct="0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 panose="020B0600040502020204" pitchFamily="34" charset="0"/>
        <a:buNone/>
        <a:defRPr sz="1600" b="0" i="0">
          <a:solidFill>
            <a:schemeClr val="accent1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0" indent="0" algn="l" rtl="0" eaLnBrk="0" fontAlgn="base" hangingPunct="0">
        <a:spcBef>
          <a:spcPts val="300"/>
        </a:spcBef>
        <a:spcAft>
          <a:spcPts val="300"/>
        </a:spcAft>
        <a:buClr>
          <a:schemeClr val="hlink"/>
        </a:buClr>
        <a:buFont typeface="Arial" charset="0"/>
        <a:buNone/>
        <a:defRPr sz="1600" b="0" i="0">
          <a:solidFill>
            <a:schemeClr val="accent6"/>
          </a:solidFill>
          <a:latin typeface="Trebuchet MS" panose="020B070302020209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723931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6pPr>
      <a:lvl7pPr marL="321919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7pPr>
      <a:lvl8pPr marL="3714450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8pPr>
      <a:lvl9pPr marL="4209709" indent="-24763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83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347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9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0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1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2.xml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3.xml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Институт проблем правового регулирования"/>
          <p:cNvSpPr txBox="1">
            <a:spLocks noGrp="1"/>
          </p:cNvSpPr>
          <p:nvPr>
            <p:ph type="body" idx="21"/>
          </p:nvPr>
        </p:nvSpPr>
        <p:spPr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ru-RU" dirty="0"/>
              <a:t>Заседание Совета по развитию микробиологической промышленности и биотехнологий</a:t>
            </a:r>
            <a:endParaRPr dirty="0"/>
          </a:p>
        </p:txBody>
      </p:sp>
      <p:sp>
        <p:nvSpPr>
          <p:cNvPr id="199" name="ТЗ-201"/>
          <p:cNvSpPr txBox="1">
            <a:spLocks noGrp="1"/>
          </p:cNvSpPr>
          <p:nvPr>
            <p:ph type="body" idx="22"/>
          </p:nvPr>
        </p:nvSpPr>
        <p:spPr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ru-RU" dirty="0"/>
              <a:t>25.04.2025</a:t>
            </a:r>
            <a:endParaRPr dirty="0"/>
          </a:p>
        </p:txBody>
      </p:sp>
      <p:sp>
        <p:nvSpPr>
          <p:cNvPr id="200" name="Москва 2022"/>
          <p:cNvSpPr txBox="1">
            <a:spLocks noGrp="1"/>
          </p:cNvSpPr>
          <p:nvPr>
            <p:ph type="body" idx="23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1200">
                <a:latin typeface="+mn-lt"/>
                <a:ea typeface="+mn-ea"/>
                <a:cs typeface="+mn-cs"/>
                <a:sym typeface="Helvetica"/>
              </a:defRPr>
            </a:pPr>
            <a:r>
              <a:rPr lang="ru-RU" dirty="0"/>
              <a:t>Москва</a:t>
            </a:r>
          </a:p>
        </p:txBody>
      </p:sp>
      <p:sp>
        <p:nvSpPr>
          <p:cNvPr id="201" name="Обеспечение реализации фундаментальных прав человека в цифровой среде"/>
          <p:cNvSpPr txBox="1">
            <a:spLocks noGrp="1"/>
          </p:cNvSpPr>
          <p:nvPr>
            <p:ph type="body" idx="24"/>
          </p:nvPr>
        </p:nvSpPr>
        <p:spPr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4300">
                <a:solidFill>
                  <a:srgbClr val="172C65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rPr lang="ru-RU" sz="3400" dirty="0"/>
              <a:t>Совершенствование регулирования генно-инженерной деятельности в целях технологического обеспечения биоэкономики</a:t>
            </a:r>
          </a:p>
        </p:txBody>
      </p:sp>
      <p:sp>
        <p:nvSpPr>
          <p:cNvPr id="202" name="уважение частной жизни;…"/>
          <p:cNvSpPr txBox="1">
            <a:spLocks noGrp="1"/>
          </p:cNvSpPr>
          <p:nvPr>
            <p:ph type="body" idx="25"/>
          </p:nvPr>
        </p:nvSpPr>
        <p:spPr>
          <a:xfrm>
            <a:off x="1098146" y="4466764"/>
            <a:ext cx="4997854" cy="886500"/>
          </a:xfrm>
          <a:prstGeom prst="rect">
            <a:avLst/>
          </a:prstGeom>
        </p:spPr>
        <p:txBody>
          <a:bodyPr/>
          <a:lstStyle/>
          <a:p>
            <a:pPr marL="0" indent="0" algn="just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66">
                <a:latin typeface="+mn-lt"/>
                <a:ea typeface="+mn-ea"/>
                <a:cs typeface="+mn-cs"/>
                <a:sym typeface="Helvetica"/>
              </a:defRPr>
            </a:pPr>
            <a:r>
              <a:rPr lang="ru-RU" b="1" dirty="0"/>
              <a:t>Сутырина Анна Сергеевна, </a:t>
            </a:r>
          </a:p>
          <a:p>
            <a:pPr marL="0" indent="0" algn="just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66">
                <a:latin typeface="+mn-lt"/>
                <a:ea typeface="+mn-ea"/>
                <a:cs typeface="+mn-cs"/>
                <a:sym typeface="Helvetica"/>
              </a:defRPr>
            </a:pPr>
            <a:r>
              <a:rPr lang="ru-RU" sz="1600" dirty="0"/>
              <a:t>Директор ИППР НИУ ВШЭ</a:t>
            </a:r>
            <a:r>
              <a:rPr lang="ru-RU" dirty="0"/>
              <a:t>, </a:t>
            </a:r>
          </a:p>
          <a:p>
            <a:pPr marL="0" indent="0" algn="just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66">
                <a:latin typeface="+mn-lt"/>
                <a:ea typeface="+mn-ea"/>
                <a:cs typeface="+mn-cs"/>
                <a:sym typeface="Helvetica"/>
              </a:defRPr>
            </a:pPr>
            <a:r>
              <a:rPr lang="ru-RU" sz="1600" dirty="0"/>
              <a:t>к.ю.н</a:t>
            </a:r>
            <a:endParaRPr sz="1600" dirty="0"/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>
                <a:latin typeface="+mn-lt"/>
                <a:ea typeface="+mn-ea"/>
                <a:cs typeface="+mn-cs"/>
                <a:sym typeface="Helvetica"/>
              </a:defRPr>
            </a:pPr>
            <a:endParaRPr sz="1600" dirty="0"/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DBEAC29-E762-4886-8404-3BB15869F8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79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DBEAC29-E762-4886-8404-3BB15869F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1" name="Group 2">
            <a:extLst>
              <a:ext uri="{FF2B5EF4-FFF2-40B4-BE49-F238E27FC236}">
                <a16:creationId xmlns:a16="http://schemas.microsoft.com/office/drawing/2014/main" id="{A6FECDF0-D280-ACEF-E613-4075E537BABE}"/>
              </a:ext>
            </a:extLst>
          </p:cNvPr>
          <p:cNvGrpSpPr/>
          <p:nvPr/>
        </p:nvGrpSpPr>
        <p:grpSpPr>
          <a:xfrm rot="5400000">
            <a:off x="5623733" y="-554489"/>
            <a:ext cx="974692" cy="11087854"/>
            <a:chOff x="9513403" y="342909"/>
            <a:chExt cx="1000687" cy="6190313"/>
          </a:xfrm>
        </p:grpSpPr>
        <p:sp>
          <p:nvSpPr>
            <p:cNvPr id="132" name="Rectangle 3">
              <a:extLst>
                <a:ext uri="{FF2B5EF4-FFF2-40B4-BE49-F238E27FC236}">
                  <a16:creationId xmlns:a16="http://schemas.microsoft.com/office/drawing/2014/main" id="{1CCECDA9-AF32-008B-8E24-574CE031CC5A}"/>
                </a:ext>
              </a:extLst>
            </p:cNvPr>
            <p:cNvSpPr/>
            <p:nvPr/>
          </p:nvSpPr>
          <p:spPr>
            <a:xfrm flipH="1">
              <a:off x="9874248" y="677256"/>
              <a:ext cx="293092" cy="5729893"/>
            </a:xfrm>
            <a:prstGeom prst="rect">
              <a:avLst/>
            </a:prstGeom>
            <a:gradFill>
              <a:gsLst>
                <a:gs pos="0">
                  <a:srgbClr val="FFFFFF">
                    <a:lumMod val="85000"/>
                    <a:alpha val="48000"/>
                  </a:srgbClr>
                </a:gs>
                <a:gs pos="94000">
                  <a:srgbClr val="FFFFFF">
                    <a:alpha val="0"/>
                  </a:srgbClr>
                </a:gs>
              </a:gsLst>
              <a:lin ang="108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Rectangle 4">
              <a:extLst>
                <a:ext uri="{FF2B5EF4-FFF2-40B4-BE49-F238E27FC236}">
                  <a16:creationId xmlns:a16="http://schemas.microsoft.com/office/drawing/2014/main" id="{48F6A40D-308A-D734-BF9F-98288FD150E4}"/>
                </a:ext>
              </a:extLst>
            </p:cNvPr>
            <p:cNvSpPr/>
            <p:nvPr/>
          </p:nvSpPr>
          <p:spPr>
            <a:xfrm>
              <a:off x="9513404" y="342909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4" name="Rectangle 5">
              <a:extLst>
                <a:ext uri="{FF2B5EF4-FFF2-40B4-BE49-F238E27FC236}">
                  <a16:creationId xmlns:a16="http://schemas.microsoft.com/office/drawing/2014/main" id="{FD3F5B90-79A1-7995-9AD6-97B3BDD5A756}"/>
                </a:ext>
              </a:extLst>
            </p:cNvPr>
            <p:cNvSpPr/>
            <p:nvPr/>
          </p:nvSpPr>
          <p:spPr>
            <a:xfrm rot="10800000">
              <a:off x="9513403" y="2975273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63" name="Group 2">
            <a:extLst>
              <a:ext uri="{FF2B5EF4-FFF2-40B4-BE49-F238E27FC236}">
                <a16:creationId xmlns:a16="http://schemas.microsoft.com/office/drawing/2014/main" id="{CEBF17C8-7D65-46A8-776C-D6EB412704C8}"/>
              </a:ext>
            </a:extLst>
          </p:cNvPr>
          <p:cNvGrpSpPr/>
          <p:nvPr/>
        </p:nvGrpSpPr>
        <p:grpSpPr>
          <a:xfrm rot="5400000">
            <a:off x="5607444" y="-1762742"/>
            <a:ext cx="974692" cy="11087854"/>
            <a:chOff x="9513403" y="342909"/>
            <a:chExt cx="1000687" cy="6190313"/>
          </a:xfrm>
        </p:grpSpPr>
        <p:sp>
          <p:nvSpPr>
            <p:cNvPr id="128" name="Rectangle 3">
              <a:extLst>
                <a:ext uri="{FF2B5EF4-FFF2-40B4-BE49-F238E27FC236}">
                  <a16:creationId xmlns:a16="http://schemas.microsoft.com/office/drawing/2014/main" id="{E597B960-E3DE-2CDF-F518-3A9D632028D3}"/>
                </a:ext>
              </a:extLst>
            </p:cNvPr>
            <p:cNvSpPr/>
            <p:nvPr/>
          </p:nvSpPr>
          <p:spPr>
            <a:xfrm flipH="1">
              <a:off x="9874248" y="677256"/>
              <a:ext cx="293092" cy="5729893"/>
            </a:xfrm>
            <a:prstGeom prst="rect">
              <a:avLst/>
            </a:prstGeom>
            <a:gradFill>
              <a:gsLst>
                <a:gs pos="0">
                  <a:srgbClr val="FFFFFF">
                    <a:lumMod val="85000"/>
                    <a:alpha val="48000"/>
                  </a:srgbClr>
                </a:gs>
                <a:gs pos="94000">
                  <a:srgbClr val="FFFFFF">
                    <a:alpha val="0"/>
                  </a:srgbClr>
                </a:gs>
              </a:gsLst>
              <a:lin ang="108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9" name="Rectangle 4">
              <a:extLst>
                <a:ext uri="{FF2B5EF4-FFF2-40B4-BE49-F238E27FC236}">
                  <a16:creationId xmlns:a16="http://schemas.microsoft.com/office/drawing/2014/main" id="{7F96C784-97E9-381B-4FC2-04FA826B4343}"/>
                </a:ext>
              </a:extLst>
            </p:cNvPr>
            <p:cNvSpPr/>
            <p:nvPr/>
          </p:nvSpPr>
          <p:spPr>
            <a:xfrm>
              <a:off x="9513404" y="342909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Rectangle 5">
              <a:extLst>
                <a:ext uri="{FF2B5EF4-FFF2-40B4-BE49-F238E27FC236}">
                  <a16:creationId xmlns:a16="http://schemas.microsoft.com/office/drawing/2014/main" id="{274C231A-528B-E363-C969-D1C767BE0406}"/>
                </a:ext>
              </a:extLst>
            </p:cNvPr>
            <p:cNvSpPr/>
            <p:nvPr/>
          </p:nvSpPr>
          <p:spPr>
            <a:xfrm rot="10800000">
              <a:off x="9513403" y="2975273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9" name="Group 2">
            <a:extLst>
              <a:ext uri="{FF2B5EF4-FFF2-40B4-BE49-F238E27FC236}">
                <a16:creationId xmlns:a16="http://schemas.microsoft.com/office/drawing/2014/main" id="{9A3BCBCA-FA5F-7484-9629-BBD213912740}"/>
              </a:ext>
            </a:extLst>
          </p:cNvPr>
          <p:cNvGrpSpPr/>
          <p:nvPr/>
        </p:nvGrpSpPr>
        <p:grpSpPr>
          <a:xfrm rot="5400000">
            <a:off x="5607444" y="-2981589"/>
            <a:ext cx="974692" cy="11087854"/>
            <a:chOff x="9513403" y="342909"/>
            <a:chExt cx="1000687" cy="6190313"/>
          </a:xfrm>
        </p:grpSpPr>
        <p:sp>
          <p:nvSpPr>
            <p:cNvPr id="60" name="Rectangle 3">
              <a:extLst>
                <a:ext uri="{FF2B5EF4-FFF2-40B4-BE49-F238E27FC236}">
                  <a16:creationId xmlns:a16="http://schemas.microsoft.com/office/drawing/2014/main" id="{691E116E-BB4F-EB52-F91D-6AC2371AD686}"/>
                </a:ext>
              </a:extLst>
            </p:cNvPr>
            <p:cNvSpPr/>
            <p:nvPr/>
          </p:nvSpPr>
          <p:spPr>
            <a:xfrm flipH="1">
              <a:off x="9874248" y="677256"/>
              <a:ext cx="293092" cy="5729893"/>
            </a:xfrm>
            <a:prstGeom prst="rect">
              <a:avLst/>
            </a:prstGeom>
            <a:gradFill>
              <a:gsLst>
                <a:gs pos="0">
                  <a:srgbClr val="FFFFFF">
                    <a:lumMod val="85000"/>
                    <a:alpha val="48000"/>
                  </a:srgbClr>
                </a:gs>
                <a:gs pos="94000">
                  <a:srgbClr val="FFFFFF">
                    <a:alpha val="0"/>
                  </a:srgbClr>
                </a:gs>
              </a:gsLst>
              <a:lin ang="108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Rectangle 4">
              <a:extLst>
                <a:ext uri="{FF2B5EF4-FFF2-40B4-BE49-F238E27FC236}">
                  <a16:creationId xmlns:a16="http://schemas.microsoft.com/office/drawing/2014/main" id="{49A0A193-1F6E-2849-D5C6-11B290CDB062}"/>
                </a:ext>
              </a:extLst>
            </p:cNvPr>
            <p:cNvSpPr/>
            <p:nvPr/>
          </p:nvSpPr>
          <p:spPr>
            <a:xfrm>
              <a:off x="9513404" y="342909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2" name="Rectangle 5">
              <a:extLst>
                <a:ext uri="{FF2B5EF4-FFF2-40B4-BE49-F238E27FC236}">
                  <a16:creationId xmlns:a16="http://schemas.microsoft.com/office/drawing/2014/main" id="{04034E41-CBE2-B7DD-91AD-E977535F5E67}"/>
                </a:ext>
              </a:extLst>
            </p:cNvPr>
            <p:cNvSpPr/>
            <p:nvPr/>
          </p:nvSpPr>
          <p:spPr>
            <a:xfrm rot="10800000">
              <a:off x="9513403" y="2975273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A2BCD7-E574-4FD0-AA57-897020D701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7152" y="452806"/>
            <a:ext cx="11073986" cy="369332"/>
          </a:xfrm>
        </p:spPr>
        <p:txBody>
          <a:bodyPr vert="horz"/>
          <a:lstStyle/>
          <a:p>
            <a:r>
              <a:rPr lang="ru-RU" sz="2400" b="1" dirty="0">
                <a:solidFill>
                  <a:srgbClr val="18347C"/>
                </a:solidFill>
                <a:latin typeface="+mn-lt"/>
              </a:rPr>
              <a:t>Направления внесения изменений в Закон №86-ФЗ и подзаконные НПА </a:t>
            </a:r>
            <a:endParaRPr lang="en-US" sz="2400" b="1" dirty="0">
              <a:solidFill>
                <a:srgbClr val="18347C"/>
              </a:solidFill>
              <a:latin typeface="+mn-lt"/>
            </a:endParaRP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49EA8E58-633D-BB01-9020-4B550092FB5A}"/>
              </a:ext>
            </a:extLst>
          </p:cNvPr>
          <p:cNvGrpSpPr/>
          <p:nvPr/>
        </p:nvGrpSpPr>
        <p:grpSpPr>
          <a:xfrm>
            <a:off x="664890" y="1683709"/>
            <a:ext cx="9671806" cy="415498"/>
            <a:chOff x="664891" y="1683709"/>
            <a:chExt cx="5522232" cy="415498"/>
          </a:xfrm>
        </p:grpSpPr>
        <p:sp>
          <p:nvSpPr>
            <p:cNvPr id="13" name="RBContent37">
              <a:extLst>
                <a:ext uri="{FF2B5EF4-FFF2-40B4-BE49-F238E27FC236}">
                  <a16:creationId xmlns:a16="http://schemas.microsoft.com/office/drawing/2014/main" id="{9DCBEFB3-AF56-D837-FEFA-54F4AEB57CF2}"/>
                </a:ext>
              </a:extLst>
            </p:cNvPr>
            <p:cNvSpPr txBox="1">
              <a:spLocks/>
            </p:cNvSpPr>
            <p:nvPr/>
          </p:nvSpPr>
          <p:spPr>
            <a:xfrm>
              <a:off x="980957" y="1794509"/>
              <a:ext cx="5206166" cy="1938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400" b="1" dirty="0">
                  <a:latin typeface="+mn-lt"/>
                  <a:ea typeface="Aptos" panose="020B0004020202020204" pitchFamily="34" charset="0"/>
                </a:rPr>
                <a:t>П</a:t>
              </a:r>
              <a:r>
                <a:rPr lang="ru-RU" sz="1400" b="1" dirty="0">
                  <a:effectLst/>
                  <a:latin typeface="+mn-lt"/>
                  <a:ea typeface="Aptos" panose="020B0004020202020204" pitchFamily="34" charset="0"/>
                </a:rPr>
                <a:t>овышение эффективности вывода на рынок продукции, произведенной с использованием ГММ</a:t>
              </a:r>
              <a:endParaRPr lang="en-US" sz="14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RBContent37">
              <a:extLst>
                <a:ext uri="{FF2B5EF4-FFF2-40B4-BE49-F238E27FC236}">
                  <a16:creationId xmlns:a16="http://schemas.microsoft.com/office/drawing/2014/main" id="{24802069-3A8C-F03D-9151-EE693CE8FDF0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3709"/>
              <a:ext cx="464036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1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CE8A07F6-7DCE-B815-FC4B-8AFCB4A7DCCE}"/>
              </a:ext>
            </a:extLst>
          </p:cNvPr>
          <p:cNvGrpSpPr/>
          <p:nvPr/>
        </p:nvGrpSpPr>
        <p:grpSpPr>
          <a:xfrm>
            <a:off x="664891" y="2835951"/>
            <a:ext cx="10423541" cy="507943"/>
            <a:chOff x="664891" y="1684571"/>
            <a:chExt cx="4942995" cy="507943"/>
          </a:xfrm>
        </p:grpSpPr>
        <p:sp>
          <p:nvSpPr>
            <p:cNvPr id="21" name="RBContent37">
              <a:extLst>
                <a:ext uri="{FF2B5EF4-FFF2-40B4-BE49-F238E27FC236}">
                  <a16:creationId xmlns:a16="http://schemas.microsoft.com/office/drawing/2014/main" id="{2D6DA0AD-1465-C43C-B1B6-B02D9A252B6A}"/>
                </a:ext>
              </a:extLst>
            </p:cNvPr>
            <p:cNvSpPr txBox="1">
              <a:spLocks/>
            </p:cNvSpPr>
            <p:nvPr/>
          </p:nvSpPr>
          <p:spPr>
            <a:xfrm>
              <a:off x="927401" y="1804716"/>
              <a:ext cx="4680485" cy="3877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1400" b="1" dirty="0">
                  <a:effectLst/>
                  <a:latin typeface="+mn-lt"/>
                  <a:ea typeface="Aptos" panose="020B0004020202020204" pitchFamily="34" charset="0"/>
                </a:rPr>
                <a:t>Совершенствование порядка ввода в хозяйственный оборот генно-инженерно редактированных организмов (ГИРО), не имеющих вставок чужеродных ДНК</a:t>
              </a:r>
              <a:endParaRPr lang="en-US" sz="14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2" name="RBContent37">
              <a:extLst>
                <a:ext uri="{FF2B5EF4-FFF2-40B4-BE49-F238E27FC236}">
                  <a16:creationId xmlns:a16="http://schemas.microsoft.com/office/drawing/2014/main" id="{D3604C4D-B5C9-41DF-BDA3-35618491AA70}"/>
                </a:ext>
              </a:extLst>
            </p:cNvPr>
            <p:cNvSpPr txBox="1">
              <a:spLocks/>
            </p:cNvSpPr>
            <p:nvPr/>
          </p:nvSpPr>
          <p:spPr>
            <a:xfrm>
              <a:off x="664891" y="1684571"/>
              <a:ext cx="417181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2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F594F464-99ED-A09D-AE2F-EBEF3B3BAB3D}"/>
              </a:ext>
            </a:extLst>
          </p:cNvPr>
          <p:cNvGrpSpPr/>
          <p:nvPr/>
        </p:nvGrpSpPr>
        <p:grpSpPr>
          <a:xfrm>
            <a:off x="692684" y="3972713"/>
            <a:ext cx="9808672" cy="752369"/>
            <a:chOff x="678960" y="1669091"/>
            <a:chExt cx="4965150" cy="752369"/>
          </a:xfrm>
        </p:grpSpPr>
        <p:sp>
          <p:nvSpPr>
            <p:cNvPr id="24" name="RBContent37">
              <a:extLst>
                <a:ext uri="{FF2B5EF4-FFF2-40B4-BE49-F238E27FC236}">
                  <a16:creationId xmlns:a16="http://schemas.microsoft.com/office/drawing/2014/main" id="{AB208113-4679-1C64-C547-B374714EE305}"/>
                </a:ext>
              </a:extLst>
            </p:cNvPr>
            <p:cNvSpPr txBox="1">
              <a:spLocks/>
            </p:cNvSpPr>
            <p:nvPr/>
          </p:nvSpPr>
          <p:spPr>
            <a:xfrm>
              <a:off x="963625" y="1775129"/>
              <a:ext cx="4680485" cy="64633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800"/>
                </a:spcAft>
              </a:pPr>
              <a:r>
                <a:rPr lang="ru-RU" sz="1400" b="1" kern="100" dirty="0">
                  <a:latin typeface="+mn-lt"/>
                  <a:ea typeface="Aptos" panose="020B0004020202020204" pitchFamily="34" charset="0"/>
                  <a:cs typeface="Times New Roman" panose="02020603050405020304" pitchFamily="18" charset="0"/>
                </a:rPr>
                <a:t>П</a:t>
              </a:r>
              <a:r>
                <a:rPr lang="ru-RU" sz="1400" b="1" kern="100" dirty="0">
                  <a:effectLst/>
                  <a:latin typeface="+mn-lt"/>
                  <a:ea typeface="Aptos" panose="020B0004020202020204" pitchFamily="34" charset="0"/>
                  <a:cs typeface="Times New Roman" panose="02020603050405020304" pitchFamily="18" charset="0"/>
                </a:rPr>
                <a:t>роведение эксперимента под строгим контролем государства по выращиванию и разведению отдельных (строго ограниченных по перечню) видов трансгенных растений и животных, созданных российскими научными или образовательными организациями</a:t>
              </a:r>
              <a:endParaRPr lang="en-US" sz="14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RBContent37">
              <a:extLst>
                <a:ext uri="{FF2B5EF4-FFF2-40B4-BE49-F238E27FC236}">
                  <a16:creationId xmlns:a16="http://schemas.microsoft.com/office/drawing/2014/main" id="{BD7063E3-4147-5291-458A-8F0C08D40578}"/>
                </a:ext>
              </a:extLst>
            </p:cNvPr>
            <p:cNvSpPr txBox="1">
              <a:spLocks/>
            </p:cNvSpPr>
            <p:nvPr/>
          </p:nvSpPr>
          <p:spPr>
            <a:xfrm>
              <a:off x="678960" y="1669091"/>
              <a:ext cx="417181" cy="41549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rgbClr val="000000"/>
                </a:buClr>
                <a:buSzPct val="100000"/>
              </a:pPr>
              <a:r>
                <a:rPr lang="ru-RU" sz="3000" b="1" dirty="0">
                  <a:solidFill>
                    <a:srgbClr val="6699FF"/>
                  </a:solidFill>
                  <a:latin typeface="+mn-lt"/>
                  <a:ea typeface="+mn-ea"/>
                  <a:cs typeface="+mn-cs"/>
                  <a:sym typeface="+mn-lt"/>
                </a:rPr>
                <a:t>3</a:t>
              </a:r>
              <a:endParaRPr lang="en-US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855266E-50D1-E3BC-8130-2F7F31093905}"/>
              </a:ext>
            </a:extLst>
          </p:cNvPr>
          <p:cNvSpPr/>
          <p:nvPr/>
        </p:nvSpPr>
        <p:spPr>
          <a:xfrm>
            <a:off x="11785808" y="6360554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2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4032451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DBEAC29-E762-4886-8404-3BB15869F8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489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DBEAC29-E762-4886-8404-3BB15869F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49E5AEC2-FE78-FE1F-FFE9-B0B8846E8EF4}"/>
              </a:ext>
            </a:extLst>
          </p:cNvPr>
          <p:cNvSpPr/>
          <p:nvPr/>
        </p:nvSpPr>
        <p:spPr>
          <a:xfrm>
            <a:off x="6634953" y="845621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B15F0A2A-C965-B5EC-D5AC-4AE5858983AF}"/>
              </a:ext>
            </a:extLst>
          </p:cNvPr>
          <p:cNvSpPr/>
          <p:nvPr/>
        </p:nvSpPr>
        <p:spPr>
          <a:xfrm>
            <a:off x="9297716" y="939215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A2BCD7-E574-4FD0-AA57-897020D701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9950" y="232003"/>
            <a:ext cx="9745690" cy="615553"/>
          </a:xfrm>
        </p:spPr>
        <p:txBody>
          <a:bodyPr vert="horz"/>
          <a:lstStyle/>
          <a:p>
            <a:r>
              <a:rPr lang="ru-RU" b="1" dirty="0">
                <a:solidFill>
                  <a:srgbClr val="18347C"/>
                </a:solidFill>
                <a:latin typeface="+mn-lt"/>
              </a:rPr>
              <a:t>Повышение эффективности вывода на рынок продукции, произведенной с использованием ГММ</a:t>
            </a:r>
            <a:endParaRPr lang="en-US" b="1" dirty="0">
              <a:solidFill>
                <a:srgbClr val="18347C"/>
              </a:solidFill>
              <a:latin typeface="+mn-lt"/>
            </a:endParaRP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8B9020B2-5CE5-4C3A-8121-7BF37655F854}"/>
              </a:ext>
            </a:extLst>
          </p:cNvPr>
          <p:cNvSpPr txBox="1">
            <a:spLocks/>
          </p:cNvSpPr>
          <p:nvPr/>
        </p:nvSpPr>
        <p:spPr>
          <a:xfrm>
            <a:off x="633336" y="1102657"/>
            <a:ext cx="1590337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rPr>
              <a:t>Проблемы: </a:t>
            </a:r>
            <a:endParaRPr lang="en-US" sz="2000" b="1" dirty="0">
              <a:solidFill>
                <a:srgbClr val="18347B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09430E-B063-BF64-E4F2-94E263B07973}"/>
              </a:ext>
            </a:extLst>
          </p:cNvPr>
          <p:cNvSpPr txBox="1"/>
          <p:nvPr/>
        </p:nvSpPr>
        <p:spPr>
          <a:xfrm>
            <a:off x="2223673" y="1062795"/>
            <a:ext cx="9067179" cy="503590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algn="l"/>
            <a:r>
              <a:rPr lang="ru-RU" sz="1600" dirty="0">
                <a:latin typeface="+mn-lt"/>
              </a:rPr>
              <a:t>необоснованное удлиннение срока вывода на рынок продукции с использованием ГММ</a:t>
            </a:r>
            <a:endParaRPr lang="ru-RU" sz="1600" dirty="0">
              <a:effectLst/>
              <a:latin typeface="+mn-lt"/>
              <a:ea typeface="Aptos" panose="020B0004020202020204" pitchFamily="34" charset="0"/>
            </a:endParaRPr>
          </a:p>
          <a:p>
            <a:pPr algn="l"/>
            <a:endParaRPr lang="en-US" sz="1200" b="1" dirty="0">
              <a:latin typeface="+mn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CA66197-2E52-C7EF-E488-1A49A9412ACD}"/>
              </a:ext>
            </a:extLst>
          </p:cNvPr>
          <p:cNvSpPr txBox="1"/>
          <p:nvPr/>
        </p:nvSpPr>
        <p:spPr>
          <a:xfrm>
            <a:off x="4797903" y="2614001"/>
            <a:ext cx="2906911" cy="35083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Исключить необходимость проведения экспертиз безопасности в отношении самого ГММ*, если: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в продукте, произведенном с использованием ГММ, будут отсутстововать какие-либо следы ДНК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продукт априори не может быть использован для производства продуктов питания людей и/или животных, а также лекарственных средств</a:t>
            </a:r>
            <a:endParaRPr lang="ru-RU" sz="14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288177EE-65A9-CB80-166E-6BBD57521FA4}"/>
              </a:ext>
            </a:extLst>
          </p:cNvPr>
          <p:cNvSpPr/>
          <p:nvPr/>
        </p:nvSpPr>
        <p:spPr>
          <a:xfrm>
            <a:off x="9494372" y="3091267"/>
            <a:ext cx="419414" cy="2470049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E312B625-8299-EBF1-38B9-D1B9CF2A9104}"/>
              </a:ext>
            </a:extLst>
          </p:cNvPr>
          <p:cNvSpPr/>
          <p:nvPr/>
        </p:nvSpPr>
        <p:spPr>
          <a:xfrm>
            <a:off x="550862" y="220331"/>
            <a:ext cx="920129" cy="6955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1</a:t>
            </a:r>
            <a:endParaRPr lang="en-US" sz="28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F17991-B4E7-882E-8A04-58BC9F544E64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3</a:t>
            </a:r>
            <a:endParaRPr lang="en-US" sz="1400" b="1" dirty="0"/>
          </a:p>
        </p:txBody>
      </p:sp>
      <p:sp>
        <p:nvSpPr>
          <p:cNvPr id="10" name="RBContent37">
            <a:extLst>
              <a:ext uri="{FF2B5EF4-FFF2-40B4-BE49-F238E27FC236}">
                <a16:creationId xmlns:a16="http://schemas.microsoft.com/office/drawing/2014/main" id="{9E03E629-80E7-22C8-5525-3DC21929B80B}"/>
              </a:ext>
            </a:extLst>
          </p:cNvPr>
          <p:cNvSpPr txBox="1">
            <a:spLocks/>
          </p:cNvSpPr>
          <p:nvPr/>
        </p:nvSpPr>
        <p:spPr>
          <a:xfrm>
            <a:off x="5081574" y="1592279"/>
            <a:ext cx="1336433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rPr>
              <a:t>Решения: </a:t>
            </a:r>
            <a:endParaRPr lang="en-US" sz="2000" b="1" dirty="0">
              <a:solidFill>
                <a:srgbClr val="18347B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FC5C8D-9E0C-AC5A-82AA-63366777F136}"/>
              </a:ext>
            </a:extLst>
          </p:cNvPr>
          <p:cNvSpPr txBox="1"/>
          <p:nvPr/>
        </p:nvSpPr>
        <p:spPr>
          <a:xfrm>
            <a:off x="1470991" y="2667055"/>
            <a:ext cx="2483033" cy="26116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Исключить признание промышленного производства с использованием ГММ деятельностью, осуществляемой в открытых системах, даже если масштаб такой деятельности превышает лабораторные исследования</a:t>
            </a:r>
            <a:endParaRPr lang="ru-RU" sz="14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BContent37">
            <a:extLst>
              <a:ext uri="{FF2B5EF4-FFF2-40B4-BE49-F238E27FC236}">
                <a16:creationId xmlns:a16="http://schemas.microsoft.com/office/drawing/2014/main" id="{D24A1DBC-2B38-4AC3-A399-1198E593B817}"/>
              </a:ext>
            </a:extLst>
          </p:cNvPr>
          <p:cNvSpPr txBox="1">
            <a:spLocks/>
          </p:cNvSpPr>
          <p:nvPr/>
        </p:nvSpPr>
        <p:spPr>
          <a:xfrm>
            <a:off x="9101059" y="2080561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3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BContent37">
            <a:extLst>
              <a:ext uri="{FF2B5EF4-FFF2-40B4-BE49-F238E27FC236}">
                <a16:creationId xmlns:a16="http://schemas.microsoft.com/office/drawing/2014/main" id="{02864E5C-8DF0-B7C1-A702-220C260FC579}"/>
              </a:ext>
            </a:extLst>
          </p:cNvPr>
          <p:cNvSpPr txBox="1">
            <a:spLocks/>
          </p:cNvSpPr>
          <p:nvPr/>
        </p:nvSpPr>
        <p:spPr>
          <a:xfrm>
            <a:off x="5348419" y="2098818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2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RBContent37">
            <a:extLst>
              <a:ext uri="{FF2B5EF4-FFF2-40B4-BE49-F238E27FC236}">
                <a16:creationId xmlns:a16="http://schemas.microsoft.com/office/drawing/2014/main" id="{96C4451A-2D38-AB08-6BD7-4360BB1E0293}"/>
              </a:ext>
            </a:extLst>
          </p:cNvPr>
          <p:cNvSpPr txBox="1">
            <a:spLocks/>
          </p:cNvSpPr>
          <p:nvPr/>
        </p:nvSpPr>
        <p:spPr>
          <a:xfrm>
            <a:off x="2068506" y="2116211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1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BFF416-94F5-DED4-CF73-3A19EB006F5D}"/>
              </a:ext>
            </a:extLst>
          </p:cNvPr>
          <p:cNvSpPr txBox="1"/>
          <p:nvPr/>
        </p:nvSpPr>
        <p:spPr>
          <a:xfrm>
            <a:off x="8450009" y="2558127"/>
            <a:ext cx="2918323" cy="32778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Разработать унифицированные методики проведения испытаний в рамках экспертиз (исследований) продукции, полученной с использованием ГММ (содержащей ГММ):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унификация по продукту, а не по ведомству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закрытый перечень обязательных для проведения испытаний (экспертиз) продукта в зависимости от целей его использования</a:t>
            </a:r>
            <a:endParaRPr lang="ru-RU" sz="14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3533F9-A7B7-1BF7-0F9E-E2651E90BC4E}"/>
              </a:ext>
            </a:extLst>
          </p:cNvPr>
          <p:cNvSpPr txBox="1"/>
          <p:nvPr/>
        </p:nvSpPr>
        <p:spPr>
          <a:xfrm>
            <a:off x="823668" y="6324448"/>
            <a:ext cx="10021911" cy="2605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* Необходимость экспертизы безопасности продукта, произведенного с использованием ГММ, сохраняется</a:t>
            </a:r>
            <a:endParaRPr lang="ru-RU" sz="11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8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7ED567-45EA-31A9-D049-605871E06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9F19D3F2-15F5-312A-E0B0-DB801079A4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9F19D3F2-15F5-312A-E0B0-DB801079A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D6AC207B-A50F-00D9-DDF3-673CDBEA9B14}"/>
              </a:ext>
            </a:extLst>
          </p:cNvPr>
          <p:cNvSpPr/>
          <p:nvPr/>
        </p:nvSpPr>
        <p:spPr>
          <a:xfrm>
            <a:off x="6624026" y="909059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6FAF8829-0989-A73B-4206-B7F3A386D282}"/>
              </a:ext>
            </a:extLst>
          </p:cNvPr>
          <p:cNvSpPr/>
          <p:nvPr/>
        </p:nvSpPr>
        <p:spPr>
          <a:xfrm>
            <a:off x="9284664" y="1301820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738DA6-5887-37E9-3C0C-97B5C71B6C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1473" y="295811"/>
            <a:ext cx="9745690" cy="307777"/>
          </a:xfrm>
        </p:spPr>
        <p:txBody>
          <a:bodyPr vert="horz"/>
          <a:lstStyle/>
          <a:p>
            <a:r>
              <a:rPr lang="ru-RU" b="1" dirty="0">
                <a:solidFill>
                  <a:srgbClr val="18347C"/>
                </a:solidFill>
                <a:latin typeface="+mn-lt"/>
              </a:rPr>
              <a:t>Совершенствование порядка ввода в хозяйственный оборот ГИРО</a:t>
            </a:r>
            <a:endParaRPr lang="en-US" b="1" dirty="0">
              <a:solidFill>
                <a:srgbClr val="18347C"/>
              </a:solidFill>
              <a:latin typeface="+mn-lt"/>
            </a:endParaRP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2A35183B-A942-EC4C-8017-DECF237307E8}"/>
              </a:ext>
            </a:extLst>
          </p:cNvPr>
          <p:cNvSpPr txBox="1">
            <a:spLocks/>
          </p:cNvSpPr>
          <p:nvPr/>
        </p:nvSpPr>
        <p:spPr>
          <a:xfrm>
            <a:off x="550862" y="987777"/>
            <a:ext cx="1517644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rPr>
              <a:t>Проблемы: </a:t>
            </a:r>
            <a:endParaRPr lang="en-US" sz="2000" b="1" dirty="0">
              <a:solidFill>
                <a:srgbClr val="18347B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EA4147-DA65-F900-AE9F-51E33E844131}"/>
              </a:ext>
            </a:extLst>
          </p:cNvPr>
          <p:cNvSpPr txBox="1"/>
          <p:nvPr/>
        </p:nvSpPr>
        <p:spPr>
          <a:xfrm>
            <a:off x="2090436" y="951676"/>
            <a:ext cx="9067179" cy="749812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600" dirty="0">
                <a:latin typeface="+mn-lt"/>
              </a:rPr>
              <a:t>редактирование собственного генома по сути представляет собой ускоренную селекцию, однако регулируется также строго, как внесение чужеродных ДНК</a:t>
            </a:r>
            <a:endParaRPr lang="ru-RU" sz="1600" dirty="0">
              <a:effectLst/>
              <a:latin typeface="+mn-lt"/>
              <a:ea typeface="Aptos" panose="020B0004020202020204" pitchFamily="34" charset="0"/>
            </a:endParaRPr>
          </a:p>
          <a:p>
            <a:pPr algn="l"/>
            <a:endParaRPr lang="en-US" sz="1200" b="1" dirty="0">
              <a:latin typeface="+mn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673C1E3-B756-B8E7-EEAD-ADC0259801B1}"/>
              </a:ext>
            </a:extLst>
          </p:cNvPr>
          <p:cNvSpPr txBox="1"/>
          <p:nvPr/>
        </p:nvSpPr>
        <p:spPr>
          <a:xfrm>
            <a:off x="4687300" y="3390443"/>
            <a:ext cx="2906911" cy="600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Установить специальный порядок регистрации ГИРО</a:t>
            </a:r>
            <a:endParaRPr lang="ru-RU" sz="1600" b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A28ED12E-37B5-FAD5-402D-83842CE9E67A}"/>
              </a:ext>
            </a:extLst>
          </p:cNvPr>
          <p:cNvSpPr/>
          <p:nvPr/>
        </p:nvSpPr>
        <p:spPr>
          <a:xfrm>
            <a:off x="9494372" y="3091267"/>
            <a:ext cx="419414" cy="2470049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919F6D22-A1EB-4D65-D647-66E066DCBC7A}"/>
              </a:ext>
            </a:extLst>
          </p:cNvPr>
          <p:cNvSpPr/>
          <p:nvPr/>
        </p:nvSpPr>
        <p:spPr>
          <a:xfrm>
            <a:off x="550862" y="91828"/>
            <a:ext cx="920129" cy="6955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2</a:t>
            </a:r>
            <a:endParaRPr lang="en-US" sz="28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B2591B-10C7-7C6F-3169-0699699FCC0D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4</a:t>
            </a:r>
            <a:endParaRPr lang="en-US" sz="1400" b="1" dirty="0"/>
          </a:p>
        </p:txBody>
      </p:sp>
      <p:sp>
        <p:nvSpPr>
          <p:cNvPr id="10" name="RBContent37">
            <a:extLst>
              <a:ext uri="{FF2B5EF4-FFF2-40B4-BE49-F238E27FC236}">
                <a16:creationId xmlns:a16="http://schemas.microsoft.com/office/drawing/2014/main" id="{C54EF942-043B-632B-78EB-487B68E012FD}"/>
              </a:ext>
            </a:extLst>
          </p:cNvPr>
          <p:cNvSpPr txBox="1">
            <a:spLocks/>
          </p:cNvSpPr>
          <p:nvPr/>
        </p:nvSpPr>
        <p:spPr>
          <a:xfrm>
            <a:off x="5077885" y="2436308"/>
            <a:ext cx="1336433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rPr>
              <a:t>Решения: </a:t>
            </a:r>
            <a:endParaRPr lang="en-US" sz="2000" b="1" dirty="0">
              <a:solidFill>
                <a:srgbClr val="18347B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0D5E37-642A-CE57-1459-64EA8D71E515}"/>
              </a:ext>
            </a:extLst>
          </p:cNvPr>
          <p:cNvSpPr txBox="1"/>
          <p:nvPr/>
        </p:nvSpPr>
        <p:spPr>
          <a:xfrm>
            <a:off x="1474259" y="3390443"/>
            <a:ext cx="2483033" cy="13909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На уровне закона выделить ГИРО как отдельную  категорию, дав определение ГИРО</a:t>
            </a:r>
            <a:endParaRPr lang="ru-RU" sz="1600" b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BContent37">
            <a:extLst>
              <a:ext uri="{FF2B5EF4-FFF2-40B4-BE49-F238E27FC236}">
                <a16:creationId xmlns:a16="http://schemas.microsoft.com/office/drawing/2014/main" id="{D151A4D6-9B0B-EE2E-03CE-11CCA7B32AB2}"/>
              </a:ext>
            </a:extLst>
          </p:cNvPr>
          <p:cNvSpPr txBox="1">
            <a:spLocks/>
          </p:cNvSpPr>
          <p:nvPr/>
        </p:nvSpPr>
        <p:spPr>
          <a:xfrm>
            <a:off x="9315638" y="2788102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3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BContent37">
            <a:extLst>
              <a:ext uri="{FF2B5EF4-FFF2-40B4-BE49-F238E27FC236}">
                <a16:creationId xmlns:a16="http://schemas.microsoft.com/office/drawing/2014/main" id="{4D458A90-0249-7D50-B986-7B0BA5AE5ACF}"/>
              </a:ext>
            </a:extLst>
          </p:cNvPr>
          <p:cNvSpPr txBox="1">
            <a:spLocks/>
          </p:cNvSpPr>
          <p:nvPr/>
        </p:nvSpPr>
        <p:spPr>
          <a:xfrm>
            <a:off x="5339737" y="2883518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2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RBContent37">
            <a:extLst>
              <a:ext uri="{FF2B5EF4-FFF2-40B4-BE49-F238E27FC236}">
                <a16:creationId xmlns:a16="http://schemas.microsoft.com/office/drawing/2014/main" id="{2439E3E1-5FF0-D5AE-E801-39B0B9E12EDF}"/>
              </a:ext>
            </a:extLst>
          </p:cNvPr>
          <p:cNvSpPr txBox="1">
            <a:spLocks/>
          </p:cNvSpPr>
          <p:nvPr/>
        </p:nvSpPr>
        <p:spPr>
          <a:xfrm>
            <a:off x="2068506" y="2901477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1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A1F9EC-34AA-6285-76A2-6453CAAD410B}"/>
              </a:ext>
            </a:extLst>
          </p:cNvPr>
          <p:cNvSpPr txBox="1"/>
          <p:nvPr/>
        </p:nvSpPr>
        <p:spPr>
          <a:xfrm>
            <a:off x="8234710" y="3360540"/>
            <a:ext cx="2918323" cy="864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Разрешить выращивание и разведение ГИР растений и животных</a:t>
            </a:r>
            <a:endParaRPr lang="ru-RU" sz="1600" b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2D2566-C952-AAAE-D374-BEA038D022C9}"/>
              </a:ext>
            </a:extLst>
          </p:cNvPr>
          <p:cNvSpPr txBox="1"/>
          <p:nvPr/>
        </p:nvSpPr>
        <p:spPr>
          <a:xfrm>
            <a:off x="2090436" y="1535632"/>
            <a:ext cx="9067179" cy="996033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600" dirty="0">
                <a:latin typeface="+mn-lt"/>
                <a:ea typeface="Aptos" panose="020B0004020202020204" pitchFamily="34" charset="0"/>
              </a:rPr>
              <a:t>в большинстве зарубежных стран установлены особенности регистрации ГИРО и их дальнейшего использования, что создает неравные конкурентные условия для данных видов деятельности в РФ и за рубежом</a:t>
            </a:r>
            <a:endParaRPr lang="ru-RU" sz="1600" dirty="0">
              <a:effectLst/>
              <a:latin typeface="+mn-lt"/>
              <a:ea typeface="Aptos" panose="020B0004020202020204" pitchFamily="34" charset="0"/>
            </a:endParaRPr>
          </a:p>
          <a:p>
            <a:pPr algn="l"/>
            <a:endParaRPr lang="en-U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3549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DAA8FA-9370-44F8-2668-E33C8D3A2D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E02A066A-20BE-D5E4-3F75-49229D00D8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E02A066A-20BE-D5E4-3F75-49229D00D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44DC46E7-B170-39BB-AA6B-CE01DA14F53D}"/>
              </a:ext>
            </a:extLst>
          </p:cNvPr>
          <p:cNvSpPr/>
          <p:nvPr/>
        </p:nvSpPr>
        <p:spPr>
          <a:xfrm>
            <a:off x="6624026" y="909059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8F98BFC5-7911-9828-A64E-C513D38F92F3}"/>
              </a:ext>
            </a:extLst>
          </p:cNvPr>
          <p:cNvSpPr/>
          <p:nvPr/>
        </p:nvSpPr>
        <p:spPr>
          <a:xfrm>
            <a:off x="9284664" y="1301820"/>
            <a:ext cx="419414" cy="216532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61ECEE-65DB-5F19-6F88-CF769D3F4C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8245" y="210023"/>
            <a:ext cx="9745690" cy="615553"/>
          </a:xfrm>
        </p:spPr>
        <p:txBody>
          <a:bodyPr vert="horz"/>
          <a:lstStyle/>
          <a:p>
            <a:r>
              <a:rPr lang="ru-RU" b="1" dirty="0">
                <a:solidFill>
                  <a:srgbClr val="18347C"/>
                </a:solidFill>
                <a:latin typeface="+mn-lt"/>
              </a:rPr>
              <a:t>Эксперимент по выращиванию и разведению трансгенных растений и животных</a:t>
            </a:r>
            <a:endParaRPr lang="en-US" b="1" dirty="0">
              <a:solidFill>
                <a:srgbClr val="18347C"/>
              </a:solidFill>
              <a:latin typeface="+mn-lt"/>
            </a:endParaRPr>
          </a:p>
        </p:txBody>
      </p:sp>
      <p:sp>
        <p:nvSpPr>
          <p:cNvPr id="164" name="RBContent37">
            <a:extLst>
              <a:ext uri="{FF2B5EF4-FFF2-40B4-BE49-F238E27FC236}">
                <a16:creationId xmlns:a16="http://schemas.microsoft.com/office/drawing/2014/main" id="{1B2DFE12-88E4-7AD0-17AC-87B93C7E1DBB}"/>
              </a:ext>
            </a:extLst>
          </p:cNvPr>
          <p:cNvSpPr txBox="1">
            <a:spLocks/>
          </p:cNvSpPr>
          <p:nvPr/>
        </p:nvSpPr>
        <p:spPr>
          <a:xfrm>
            <a:off x="550862" y="987777"/>
            <a:ext cx="1517644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rPr>
              <a:t>Проблемы: </a:t>
            </a:r>
            <a:endParaRPr lang="en-US" sz="2000" b="1" dirty="0">
              <a:solidFill>
                <a:srgbClr val="18347B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7A80A8-303D-9512-C5AD-599115395B7D}"/>
              </a:ext>
            </a:extLst>
          </p:cNvPr>
          <p:cNvSpPr txBox="1"/>
          <p:nvPr/>
        </p:nvSpPr>
        <p:spPr>
          <a:xfrm>
            <a:off x="2090436" y="953853"/>
            <a:ext cx="9067179" cy="688256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400" dirty="0">
                <a:effectLst/>
                <a:latin typeface="+mn-lt"/>
                <a:ea typeface="Aptos" panose="020B0004020202020204" pitchFamily="34" charset="0"/>
              </a:rPr>
              <a:t>запрет коммерциализации созданных в РФ трансгенных растений и животных дестимулирует частный бизнес вкладываться в такие исследования</a:t>
            </a:r>
          </a:p>
          <a:p>
            <a:pPr algn="l"/>
            <a:endParaRPr lang="en-US" sz="1200" b="1" dirty="0">
              <a:latin typeface="+mn-lt"/>
            </a:endParaRP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A4069135-CBC2-25D2-4EAC-903ECF82EDFD}"/>
              </a:ext>
            </a:extLst>
          </p:cNvPr>
          <p:cNvSpPr/>
          <p:nvPr/>
        </p:nvSpPr>
        <p:spPr>
          <a:xfrm>
            <a:off x="9487846" y="3027701"/>
            <a:ext cx="419414" cy="2470049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/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4A3D8604-F556-A40E-F8BA-8BFBF5057A91}"/>
              </a:ext>
            </a:extLst>
          </p:cNvPr>
          <p:cNvSpPr/>
          <p:nvPr/>
        </p:nvSpPr>
        <p:spPr>
          <a:xfrm>
            <a:off x="550862" y="144013"/>
            <a:ext cx="920129" cy="6955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3</a:t>
            </a:r>
            <a:endParaRPr lang="en-US" sz="2800" b="1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D94F4D0-C995-8572-A617-D1AC3F0634C7}"/>
              </a:ext>
            </a:extLst>
          </p:cNvPr>
          <p:cNvSpPr/>
          <p:nvPr/>
        </p:nvSpPr>
        <p:spPr>
          <a:xfrm>
            <a:off x="11785808" y="6277033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5</a:t>
            </a:r>
            <a:endParaRPr lang="en-US" sz="1400" b="1" dirty="0"/>
          </a:p>
        </p:txBody>
      </p:sp>
      <p:sp>
        <p:nvSpPr>
          <p:cNvPr id="10" name="RBContent37">
            <a:extLst>
              <a:ext uri="{FF2B5EF4-FFF2-40B4-BE49-F238E27FC236}">
                <a16:creationId xmlns:a16="http://schemas.microsoft.com/office/drawing/2014/main" id="{0D15C4C5-1D35-FF8F-8449-D97A834472E9}"/>
              </a:ext>
            </a:extLst>
          </p:cNvPr>
          <p:cNvSpPr txBox="1">
            <a:spLocks/>
          </p:cNvSpPr>
          <p:nvPr/>
        </p:nvSpPr>
        <p:spPr>
          <a:xfrm>
            <a:off x="462278" y="2327285"/>
            <a:ext cx="1336433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2000" b="1" dirty="0">
                <a:solidFill>
                  <a:srgbClr val="18347B"/>
                </a:solidFill>
                <a:latin typeface="+mn-lt"/>
                <a:ea typeface="+mn-ea"/>
                <a:cs typeface="+mn-cs"/>
                <a:sym typeface="+mn-lt"/>
              </a:rPr>
              <a:t>Решение: </a:t>
            </a:r>
            <a:endParaRPr lang="en-US" sz="2000" b="1" dirty="0">
              <a:solidFill>
                <a:srgbClr val="18347B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1B93C7-1EC4-2B1D-8EE4-08D3D72557E9}"/>
              </a:ext>
            </a:extLst>
          </p:cNvPr>
          <p:cNvSpPr txBox="1"/>
          <p:nvPr/>
        </p:nvSpPr>
        <p:spPr>
          <a:xfrm>
            <a:off x="1954112" y="3191281"/>
            <a:ext cx="9339823" cy="5370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Растения и животные включены в перечень, утвержденный Правительством РФ в установленном Правительством РФ порядке (перечень изначально может быть 1-2 наименования)</a:t>
            </a:r>
            <a:endParaRPr lang="ru-RU" sz="14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BContent37">
            <a:extLst>
              <a:ext uri="{FF2B5EF4-FFF2-40B4-BE49-F238E27FC236}">
                <a16:creationId xmlns:a16="http://schemas.microsoft.com/office/drawing/2014/main" id="{2DD06ABD-ABB2-E746-90FC-24B16386DBB0}"/>
              </a:ext>
            </a:extLst>
          </p:cNvPr>
          <p:cNvSpPr txBox="1">
            <a:spLocks/>
          </p:cNvSpPr>
          <p:nvPr/>
        </p:nvSpPr>
        <p:spPr>
          <a:xfrm>
            <a:off x="1309684" y="4810623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3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BContent37">
            <a:extLst>
              <a:ext uri="{FF2B5EF4-FFF2-40B4-BE49-F238E27FC236}">
                <a16:creationId xmlns:a16="http://schemas.microsoft.com/office/drawing/2014/main" id="{6AA6E4BB-8BD4-D458-0C59-D2FB1E3EF7F7}"/>
              </a:ext>
            </a:extLst>
          </p:cNvPr>
          <p:cNvSpPr txBox="1">
            <a:spLocks/>
          </p:cNvSpPr>
          <p:nvPr/>
        </p:nvSpPr>
        <p:spPr>
          <a:xfrm>
            <a:off x="1277709" y="3933739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2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RBContent37">
            <a:extLst>
              <a:ext uri="{FF2B5EF4-FFF2-40B4-BE49-F238E27FC236}">
                <a16:creationId xmlns:a16="http://schemas.microsoft.com/office/drawing/2014/main" id="{48137D2C-8E8F-4468-03D4-267B0EB3F068}"/>
              </a:ext>
            </a:extLst>
          </p:cNvPr>
          <p:cNvSpPr txBox="1">
            <a:spLocks/>
          </p:cNvSpPr>
          <p:nvPr/>
        </p:nvSpPr>
        <p:spPr>
          <a:xfrm>
            <a:off x="1246924" y="3198071"/>
            <a:ext cx="812727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ru-RU" sz="3000" b="1" dirty="0">
                <a:solidFill>
                  <a:srgbClr val="6699FF"/>
                </a:solidFill>
                <a:latin typeface="+mn-lt"/>
                <a:ea typeface="+mn-ea"/>
                <a:cs typeface="+mn-cs"/>
                <a:sym typeface="+mn-lt"/>
              </a:rPr>
              <a:t>1</a:t>
            </a:r>
            <a:endParaRPr lang="en-US" sz="3000" b="1" dirty="0">
              <a:solidFill>
                <a:srgbClr val="6699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E48AF3-62EE-AF7B-8CC7-CC80F2471F84}"/>
              </a:ext>
            </a:extLst>
          </p:cNvPr>
          <p:cNvSpPr txBox="1"/>
          <p:nvPr/>
        </p:nvSpPr>
        <p:spPr>
          <a:xfrm>
            <a:off x="2066493" y="1496524"/>
            <a:ext cx="9067179" cy="688256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  <a:ea typeface="Aptos" panose="020B0004020202020204" pitchFamily="34" charset="0"/>
              </a:rPr>
              <a:t>импорт трансгенных растений и животных разрешен (при условии их регистрации), то есть рынок РФ не закрыт от присутствия на нем трансгенных растений и животных как сырья и продуктов</a:t>
            </a:r>
            <a:endParaRPr lang="ru-RU" sz="1400" dirty="0">
              <a:effectLst/>
              <a:latin typeface="+mn-lt"/>
              <a:ea typeface="Aptos" panose="020B0004020202020204" pitchFamily="34" charset="0"/>
            </a:endParaRPr>
          </a:p>
          <a:p>
            <a:pPr algn="l"/>
            <a:endParaRPr lang="en-US" sz="1200" dirty="0"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62207A-3CFB-C2EC-FBEA-D5A8486E71FF}"/>
              </a:ext>
            </a:extLst>
          </p:cNvPr>
          <p:cNvSpPr txBox="1"/>
          <p:nvPr/>
        </p:nvSpPr>
        <p:spPr>
          <a:xfrm>
            <a:off x="2090435" y="2319653"/>
            <a:ext cx="9067179" cy="996033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algn="l"/>
            <a:r>
              <a:rPr lang="ru-RU" sz="1600" dirty="0">
                <a:latin typeface="+mn-lt"/>
                <a:ea typeface="Aptos" panose="020B0004020202020204" pitchFamily="34" charset="0"/>
              </a:rPr>
              <a:t>В качестве эксперимента разрешить выращивание и разведение трансгенных растений и животных </a:t>
            </a:r>
            <a:r>
              <a:rPr lang="ru-RU" sz="1600" b="1" dirty="0">
                <a:latin typeface="+mn-lt"/>
                <a:ea typeface="Aptos" panose="020B0004020202020204" pitchFamily="34" charset="0"/>
              </a:rPr>
              <a:t>при условии их регистрации в соответствии с ПП РФ №35 </a:t>
            </a:r>
            <a:r>
              <a:rPr lang="ru-RU" sz="1600" dirty="0">
                <a:latin typeface="+mn-lt"/>
                <a:ea typeface="Aptos" panose="020B0004020202020204" pitchFamily="34" charset="0"/>
              </a:rPr>
              <a:t>и только </a:t>
            </a:r>
            <a:r>
              <a:rPr lang="ru-RU" sz="1600" b="1" dirty="0">
                <a:latin typeface="+mn-lt"/>
                <a:ea typeface="Aptos" panose="020B0004020202020204" pitchFamily="34" charset="0"/>
              </a:rPr>
              <a:t>при </a:t>
            </a:r>
            <a:r>
              <a:rPr lang="ru-RU" sz="1600" b="1" u="sng" dirty="0">
                <a:latin typeface="+mn-lt"/>
                <a:ea typeface="Aptos" panose="020B0004020202020204" pitchFamily="34" charset="0"/>
              </a:rPr>
              <a:t>одновременном соблюдении </a:t>
            </a:r>
            <a:r>
              <a:rPr lang="ru-RU" sz="1600" b="1" dirty="0">
                <a:latin typeface="+mn-lt"/>
                <a:ea typeface="Aptos" panose="020B0004020202020204" pitchFamily="34" charset="0"/>
              </a:rPr>
              <a:t>трех условий</a:t>
            </a:r>
            <a:r>
              <a:rPr lang="ru-RU" sz="1600" dirty="0">
                <a:latin typeface="+mn-lt"/>
                <a:ea typeface="Aptos" panose="020B0004020202020204" pitchFamily="34" charset="0"/>
              </a:rPr>
              <a:t>:</a:t>
            </a:r>
            <a:endParaRPr lang="ru-RU" sz="1600" dirty="0">
              <a:effectLst/>
              <a:latin typeface="+mn-lt"/>
              <a:ea typeface="Aptos" panose="020B0004020202020204" pitchFamily="34" charset="0"/>
            </a:endParaRPr>
          </a:p>
          <a:p>
            <a:pPr algn="l"/>
            <a:endParaRPr lang="en-US" sz="1200" dirty="0"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7607BC-3E83-4B63-E739-BED48DF07719}"/>
              </a:ext>
            </a:extLst>
          </p:cNvPr>
          <p:cNvSpPr txBox="1"/>
          <p:nvPr/>
        </p:nvSpPr>
        <p:spPr>
          <a:xfrm>
            <a:off x="1954112" y="3882824"/>
            <a:ext cx="9339823" cy="767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Проведена оценка безопасности выращивания и разведения трансгенных животных и растений и выдано заключение ФОИВ, уполномоченным на проведение оценки безопасности выращивания и разведения трансгенных организмов </a:t>
            </a:r>
            <a:endParaRPr lang="ru-RU" sz="14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4F4198-6327-8234-8B38-8BB88921AAC5}"/>
              </a:ext>
            </a:extLst>
          </p:cNvPr>
          <p:cNvSpPr txBox="1"/>
          <p:nvPr/>
        </p:nvSpPr>
        <p:spPr>
          <a:xfrm>
            <a:off x="1954112" y="4807501"/>
            <a:ext cx="9339823" cy="1228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ГМ растения и животные созданы при осуществлении генно-инженерной деятельности на территории Российской Федерации </a:t>
            </a:r>
            <a:r>
              <a:rPr lang="ru-RU" sz="1400" b="1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российскими научными и образовательными организациями </a:t>
            </a: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(или с участием российских научных и образовательных организаций), </a:t>
            </a:r>
            <a:r>
              <a:rPr lang="ru-RU" sz="1400" b="1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которым принадлежат исключительные права на результаты интеллектуальной деятельности</a:t>
            </a:r>
            <a:r>
              <a:rPr lang="ru-RU" sz="1400" kern="100" dirty="0">
                <a:solidFill>
                  <a:srgbClr val="000000"/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, полученные при осуществлении генно-инженерной деятельности (+ дать в законе требования к «российскости» научных и образовательных организаций)</a:t>
            </a:r>
            <a:endParaRPr lang="ru-RU" sz="14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305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CA0DCC-3521-F6C6-753F-A3D963B7F0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8AF11C-FADB-78BC-5FAD-DCCB3E4A52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73" imgH="476" progId="TCLayout.ActiveDocument.1">
                  <p:embed/>
                </p:oleObj>
              </mc:Choice>
              <mc:Fallback>
                <p:oleObj name="Слайд think-cell" r:id="rId3" imgW="473" imgH="47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8AF11C-FADB-78BC-5FAD-DCCB3E4A5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1" name="Group 2">
            <a:extLst>
              <a:ext uri="{FF2B5EF4-FFF2-40B4-BE49-F238E27FC236}">
                <a16:creationId xmlns:a16="http://schemas.microsoft.com/office/drawing/2014/main" id="{FA7869D5-1F7E-C94E-3068-8749946C0587}"/>
              </a:ext>
            </a:extLst>
          </p:cNvPr>
          <p:cNvGrpSpPr/>
          <p:nvPr/>
        </p:nvGrpSpPr>
        <p:grpSpPr>
          <a:xfrm rot="5400000">
            <a:off x="5623733" y="-554489"/>
            <a:ext cx="974692" cy="11087854"/>
            <a:chOff x="9513403" y="342909"/>
            <a:chExt cx="1000687" cy="6190313"/>
          </a:xfrm>
        </p:grpSpPr>
        <p:sp>
          <p:nvSpPr>
            <p:cNvPr id="132" name="Rectangle 3">
              <a:extLst>
                <a:ext uri="{FF2B5EF4-FFF2-40B4-BE49-F238E27FC236}">
                  <a16:creationId xmlns:a16="http://schemas.microsoft.com/office/drawing/2014/main" id="{CFB07DAF-C45B-BFCF-45A0-D992FFAE9784}"/>
                </a:ext>
              </a:extLst>
            </p:cNvPr>
            <p:cNvSpPr/>
            <p:nvPr/>
          </p:nvSpPr>
          <p:spPr>
            <a:xfrm flipH="1">
              <a:off x="9874248" y="677256"/>
              <a:ext cx="293092" cy="5729893"/>
            </a:xfrm>
            <a:prstGeom prst="rect">
              <a:avLst/>
            </a:prstGeom>
            <a:gradFill>
              <a:gsLst>
                <a:gs pos="0">
                  <a:srgbClr val="FFFFFF">
                    <a:lumMod val="85000"/>
                    <a:alpha val="48000"/>
                  </a:srgbClr>
                </a:gs>
                <a:gs pos="94000">
                  <a:srgbClr val="FFFFFF">
                    <a:alpha val="0"/>
                  </a:srgbClr>
                </a:gs>
              </a:gsLst>
              <a:lin ang="108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Rectangle 4">
              <a:extLst>
                <a:ext uri="{FF2B5EF4-FFF2-40B4-BE49-F238E27FC236}">
                  <a16:creationId xmlns:a16="http://schemas.microsoft.com/office/drawing/2014/main" id="{F225A137-EA04-4105-F72F-9C059A6EE70D}"/>
                </a:ext>
              </a:extLst>
            </p:cNvPr>
            <p:cNvSpPr/>
            <p:nvPr/>
          </p:nvSpPr>
          <p:spPr>
            <a:xfrm>
              <a:off x="9513404" y="342909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4" name="Rectangle 5">
              <a:extLst>
                <a:ext uri="{FF2B5EF4-FFF2-40B4-BE49-F238E27FC236}">
                  <a16:creationId xmlns:a16="http://schemas.microsoft.com/office/drawing/2014/main" id="{A279A01D-00F7-5505-E7F8-1FE57C8BC2F7}"/>
                </a:ext>
              </a:extLst>
            </p:cNvPr>
            <p:cNvSpPr/>
            <p:nvPr/>
          </p:nvSpPr>
          <p:spPr>
            <a:xfrm rot="10800000">
              <a:off x="9513403" y="2975273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9" name="Group 2">
            <a:extLst>
              <a:ext uri="{FF2B5EF4-FFF2-40B4-BE49-F238E27FC236}">
                <a16:creationId xmlns:a16="http://schemas.microsoft.com/office/drawing/2014/main" id="{A7534593-C45B-7B7C-F14D-3A5562AF62B7}"/>
              </a:ext>
            </a:extLst>
          </p:cNvPr>
          <p:cNvGrpSpPr/>
          <p:nvPr/>
        </p:nvGrpSpPr>
        <p:grpSpPr>
          <a:xfrm rot="5400000">
            <a:off x="5607444" y="-2981589"/>
            <a:ext cx="974692" cy="11087854"/>
            <a:chOff x="9513403" y="342909"/>
            <a:chExt cx="1000687" cy="6190313"/>
          </a:xfrm>
        </p:grpSpPr>
        <p:sp>
          <p:nvSpPr>
            <p:cNvPr id="60" name="Rectangle 3">
              <a:extLst>
                <a:ext uri="{FF2B5EF4-FFF2-40B4-BE49-F238E27FC236}">
                  <a16:creationId xmlns:a16="http://schemas.microsoft.com/office/drawing/2014/main" id="{ACDE62E4-80C2-5FA9-B62C-AFFBD0AC9B81}"/>
                </a:ext>
              </a:extLst>
            </p:cNvPr>
            <p:cNvSpPr/>
            <p:nvPr/>
          </p:nvSpPr>
          <p:spPr>
            <a:xfrm flipH="1">
              <a:off x="9874248" y="677256"/>
              <a:ext cx="293092" cy="5729893"/>
            </a:xfrm>
            <a:prstGeom prst="rect">
              <a:avLst/>
            </a:prstGeom>
            <a:gradFill>
              <a:gsLst>
                <a:gs pos="0">
                  <a:srgbClr val="FFFFFF">
                    <a:lumMod val="85000"/>
                    <a:alpha val="48000"/>
                  </a:srgbClr>
                </a:gs>
                <a:gs pos="94000">
                  <a:srgbClr val="FFFFFF">
                    <a:alpha val="0"/>
                  </a:srgbClr>
                </a:gs>
              </a:gsLst>
              <a:lin ang="108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Rectangle 4">
              <a:extLst>
                <a:ext uri="{FF2B5EF4-FFF2-40B4-BE49-F238E27FC236}">
                  <a16:creationId xmlns:a16="http://schemas.microsoft.com/office/drawing/2014/main" id="{01470EF4-1744-3ADA-3286-308423D91C7E}"/>
                </a:ext>
              </a:extLst>
            </p:cNvPr>
            <p:cNvSpPr/>
            <p:nvPr/>
          </p:nvSpPr>
          <p:spPr>
            <a:xfrm>
              <a:off x="9513404" y="342909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2" name="Rectangle 5">
              <a:extLst>
                <a:ext uri="{FF2B5EF4-FFF2-40B4-BE49-F238E27FC236}">
                  <a16:creationId xmlns:a16="http://schemas.microsoft.com/office/drawing/2014/main" id="{CE15D569-5363-37E5-21AF-B98C7196E9C7}"/>
                </a:ext>
              </a:extLst>
            </p:cNvPr>
            <p:cNvSpPr/>
            <p:nvPr/>
          </p:nvSpPr>
          <p:spPr>
            <a:xfrm rot="10800000">
              <a:off x="9513403" y="2975273"/>
              <a:ext cx="1000686" cy="3557949"/>
            </a:xfrm>
            <a:prstGeom prst="rect">
              <a:avLst/>
            </a:prstGeom>
            <a:gradFill>
              <a:gsLst>
                <a:gs pos="0">
                  <a:srgbClr val="FFFFFF"/>
                </a:gs>
                <a:gs pos="94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A8881E-D753-28E1-61E2-114C150865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1822" y="3221888"/>
            <a:ext cx="11073986" cy="369332"/>
          </a:xfrm>
        </p:spPr>
        <p:txBody>
          <a:bodyPr vert="horz"/>
          <a:lstStyle/>
          <a:p>
            <a:pPr algn="ctr"/>
            <a:r>
              <a:rPr lang="ru-RU" sz="2400" b="1" dirty="0">
                <a:solidFill>
                  <a:srgbClr val="18347C"/>
                </a:solidFill>
                <a:latin typeface="+mn-lt"/>
              </a:rPr>
              <a:t>Спасибо за внимание!</a:t>
            </a:r>
            <a:endParaRPr lang="en-US" sz="2400" b="1" dirty="0">
              <a:solidFill>
                <a:srgbClr val="18347C"/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05C772-CC71-F661-AC7B-16EB8BC2B227}"/>
              </a:ext>
            </a:extLst>
          </p:cNvPr>
          <p:cNvSpPr/>
          <p:nvPr/>
        </p:nvSpPr>
        <p:spPr>
          <a:xfrm>
            <a:off x="11785808" y="6360554"/>
            <a:ext cx="406192" cy="382152"/>
          </a:xfrm>
          <a:prstGeom prst="rect">
            <a:avLst/>
          </a:prstGeom>
          <a:solidFill>
            <a:srgbClr val="183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2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397307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%m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2&quot;&gt;&lt;elem m_fUsage=&quot;3.61459563616992163304E+00&quot;&gt;&lt;m_msothmcolidx val=&quot;0&quot;/&gt;&lt;m_rgb r=&quot;C2&quot; g=&quot;E8&quot; b=&quot;FD&quot;/&gt;&lt;/elem&gt;&lt;elem m_fUsage=&quot;1.89999999999999991118E+00&quot;&gt;&lt;m_msothmcolidx val=&quot;0&quot;/&gt;&lt;m_rgb r=&quot;00&quot; g=&quot;3C&quot; b=&quot;B3&quot;/&gt;&lt;/elem&gt;&lt;elem m_fUsage=&quot;1.67298483752424886895E+00&quot;&gt;&lt;m_msothmcolidx val=&quot;0&quot;/&gt;&lt;m_rgb r=&quot;05&quot; g=&quot;7C&quot; b=&quot;C1&quot;/&gt;&lt;/elem&gt;&lt;elem m_fUsage=&quot;1.00478077030211010445E+00&quot;&gt;&lt;m_msothmcolidx val=&quot;0&quot;/&gt;&lt;m_rgb r=&quot;00&quot; g=&quot;51&quot; b=&quot;9A&quot;/&gt;&lt;/elem&gt;&lt;elem m_fUsage=&quot;5.92708531234462432380E-01&quot;&gt;&lt;m_msothmcolidx val=&quot;0&quot;/&gt;&lt;m_rgb r=&quot;1D&quot; g=&quot;54&quot; b=&quot;95&quot;/&gt;&lt;/elem&gt;&lt;elem m_fUsage=&quot;5.31441000000000163261E-01&quot;&gt;&lt;m_msothmcolidx val=&quot;0&quot;/&gt;&lt;m_rgb r=&quot;18&quot; g=&quot;34&quot; b=&quot;7B&quot;/&gt;&lt;/elem&gt;&lt;elem m_fUsage=&quot;4.17312146278416173928E-01&quot;&gt;&lt;m_msothmcolidx val=&quot;0&quot;/&gt;&lt;m_rgb r=&quot;E0&quot; g=&quot;EB&quot; b=&quot;FF&quot;/&gt;&lt;/elem&gt;&lt;elem m_fUsage=&quot;2.09710295793258033603E-01&quot;&gt;&lt;m_msothmcolidx val=&quot;0&quot;/&gt;&lt;m_rgb r=&quot;C9&quot; g=&quot;E5&quot; b=&quot;FF&quot;/&gt;&lt;/elem&gt;&lt;elem m_fUsage=&quot;4.71033275744247026395E-02&quot;&gt;&lt;m_msothmcolidx val=&quot;0&quot;/&gt;&lt;m_rgb r=&quot;3B&quot; g=&quot;A2&quot; b=&quot;FF&quot;/&gt;&lt;/elem&gt;&lt;elem m_fUsage=&quot;1.99667811101603706950E-03&quot;&gt;&lt;m_msothmcolidx val=&quot;0&quot;/&gt;&lt;m_rgb r=&quot;47&quot; g=&quot;B6&quot; b=&quot;4E&quot;/&gt;&lt;/elem&gt;&lt;elem m_fUsage=&quot;1.79701029991443349265E-03&quot;&gt;&lt;m_msothmcolidx val=&quot;0&quot;/&gt;&lt;m_rgb r=&quot;FC&quot; g=&quot;B9&quot; b=&quot;21&quot;/&gt;&lt;/elem&gt;&lt;elem m_fUsage=&quot;1.61730926992299014339E-03&quot;&gt;&lt;m_msothmcolidx val=&quot;0&quot;/&gt;&lt;m_rgb r=&quot;F4&quot; g=&quot;80&quot; b=&quot;3E&quot;/&gt;&lt;/elem&gt;&lt;elem m_fUsage=&quot;1.45557834293069112905E-03&quot;&gt;&lt;m_msothmcolidx val=&quot;0&quot;/&gt;&lt;m_rgb r=&quot;25&quot; g=&quot;75&quot; b=&quot;BB&quot;/&gt;&lt;/elem&gt;&lt;elem m_fUsage=&quot;1.31002050863762210288E-03&quot;&gt;&lt;m_msothmcolidx val=&quot;0&quot;/&gt;&lt;m_rgb r=&quot;B2&quot; g=&quot;B4&quot; b=&quot;B6&quot;/&gt;&lt;/elem&gt;&lt;elem m_fUsage=&quot;1.17901845777385982754E-03&quot;&gt;&lt;m_msothmcolidx val=&quot;0&quot;/&gt;&lt;m_rgb r=&quot;04&quot; g=&quot;9D&quot; b=&quot;D8&quot;/&gt;&lt;/elem&gt;&lt;elem m_fUsage=&quot;2.19267797298886598688E-06&quot;&gt;&lt;m_msothmcolidx val=&quot;0&quot;/&gt;&lt;m_rgb r=&quot;00&quot; g=&quot;76&quot; b=&quot;E2&quot;/&gt;&lt;/elem&gt;&lt;elem m_fUsage=&quot;2.13934008208426317921E-06&quot;&gt;&lt;m_msothmcolidx val=&quot;0&quot;/&gt;&lt;m_rgb r=&quot;0B&quot; g=&quot;3A&quot; b=&quot;73&quot;/&gt;&lt;/elem&gt;&lt;elem m_fUsage=&quot;1.47101424681418287709E-06&quot;&gt;&lt;m_msothmcolidx val=&quot;0&quot;/&gt;&lt;m_rgb r=&quot;00&quot; g=&quot;51&quot; b=&quot;B8&quot;/&gt;&lt;/elem&gt;&lt;elem m_fUsage=&quot;1.40920080559712672979E-06&quot;&gt;&lt;m_msothmcolidx val=&quot;0&quot;/&gt;&lt;m_rgb r=&quot;79&quot; g=&quot;BF&quot; b=&quot;FF&quot;/&gt;&lt;/elem&gt;&lt;elem m_fUsage=&quot;2.97301691878447799519E-07&quot;&gt;&lt;m_msothmcolidx val=&quot;0&quot;/&gt;&lt;m_rgb r=&quot;BC&quot; g=&quot;DB&quot; b=&quot;F7&quot;/&gt;&lt;/elem&gt;&lt;elem m_fUsage=&quot;1.45678075318301134566E-07&quot;&gt;&lt;m_msothmcolidx val=&quot;0&quot;/&gt;&lt;m_rgb r=&quot;00&quot; g=&quot;84&quot; b=&quot;FB&quot;/&gt;&lt;/elem&gt;&lt;elem m_fUsage=&quot;1.84920089621091298679E-08&quot;&gt;&lt;m_msothmcolidx val=&quot;0&quot;/&gt;&lt;m_rgb r=&quot;FF&quot; g=&quot;66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yXsyBQieBwJnUQ3AZ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yXsyBQieBwJnUQ3AZ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yXsyBQieBwJnUQ3AZw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MhMW7kRpq69QUaym87W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rtlCol="0" anchor="ctr"/>
      <a:lstStyle>
        <a:defPPr algn="ctr">
          <a:defRPr sz="1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A6D979EF70CAA47835A1B98F74E76F9" ma:contentTypeVersion="8" ma:contentTypeDescription="Создание документа." ma:contentTypeScope="" ma:versionID="9220af5d3c5d1dbea84ea54c00474c53">
  <xsd:schema xmlns:xsd="http://www.w3.org/2001/XMLSchema" xmlns:xs="http://www.w3.org/2001/XMLSchema" xmlns:p="http://schemas.microsoft.com/office/2006/metadata/properties" xmlns:ns2="174bd812-987c-4b1c-9c83-aab66c0e104e" xmlns:ns3="4a94b8f3-fc2d-49c3-97bf-0cff9d7cf934" targetNamespace="http://schemas.microsoft.com/office/2006/metadata/properties" ma:root="true" ma:fieldsID="d9b1dba620b06866fbc3c9c96700f926" ns2:_="" ns3:_="">
    <xsd:import namespace="174bd812-987c-4b1c-9c83-aab66c0e104e"/>
    <xsd:import namespace="4a94b8f3-fc2d-49c3-97bf-0cff9d7cf9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4bd812-987c-4b1c-9c83-aab66c0e10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d1ba3fc3-fd59-42b6-a270-6448dafe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94b8f3-fc2d-49c3-97bf-0cff9d7cf93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53113a10-9ecf-4d9b-9141-6ec0a053fe3a}" ma:internalName="TaxCatchAll" ma:showField="CatchAllData" ma:web="3302309c-1e1c-4942-ab92-d037dd9432e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a94b8f3-fc2d-49c3-97bf-0cff9d7cf934" xsi:nil="true"/>
    <lcf76f155ced4ddcb4097134ff3c332f xmlns="174bd812-987c-4b1c-9c83-aab66c0e104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22F9F4B-52F3-4938-B081-B6A04596E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4bd812-987c-4b1c-9c83-aab66c0e104e"/>
    <ds:schemaRef ds:uri="4a94b8f3-fc2d-49c3-97bf-0cff9d7cf9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9909075-9249-42CF-9BB5-6559E62D4F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916D8D-4DC1-450F-BE90-C781DF20E164}">
  <ds:schemaRefs>
    <ds:schemaRef ds:uri="http://schemas.microsoft.com/office/2006/metadata/properties"/>
    <ds:schemaRef ds:uri="http://purl.org/dc/dcmitype/"/>
    <ds:schemaRef ds:uri="http://purl.org/dc/elements/1.1/"/>
    <ds:schemaRef ds:uri="http://schemas.microsoft.com/office/2006/documentManagement/types"/>
    <ds:schemaRef ds:uri="174bd812-987c-4b1c-9c83-aab66c0e104e"/>
    <ds:schemaRef ds:uri="http://schemas.openxmlformats.org/package/2006/metadata/core-properties"/>
    <ds:schemaRef ds:uri="http://schemas.microsoft.com/office/infopath/2007/PartnerControls"/>
    <ds:schemaRef ds:uri="4a94b8f3-fc2d-49c3-97bf-0cff9d7cf934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594</TotalTime>
  <Words>550</Words>
  <Application>Microsoft Office PowerPoint</Application>
  <PresentationFormat>Широкоэкранный</PresentationFormat>
  <Paragraphs>61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Arial</vt:lpstr>
      <vt:lpstr>Lucida Grande</vt:lpstr>
      <vt:lpstr>Lucida Grande Bold</vt:lpstr>
      <vt:lpstr>System Font Regular</vt:lpstr>
      <vt:lpstr>Trebuchet MS</vt:lpstr>
      <vt:lpstr>Verdana</vt:lpstr>
      <vt:lpstr>Wingdings</vt:lpstr>
      <vt:lpstr>шаблон</vt:lpstr>
      <vt:lpstr>1_шаблон</vt:lpstr>
      <vt:lpstr>2_шаблон</vt:lpstr>
      <vt:lpstr>Слайд think-cell</vt:lpstr>
      <vt:lpstr>Презентация PowerPoint</vt:lpstr>
      <vt:lpstr>Направления внесения изменений в Закон №86-ФЗ и подзаконные НПА </vt:lpstr>
      <vt:lpstr>Повышение эффективности вывода на рынок продукции, произведенной с использованием ГММ</vt:lpstr>
      <vt:lpstr>Совершенствование порядка ввода в хозяйственный оборот ГИРО</vt:lpstr>
      <vt:lpstr>Эксперимент по выращиванию и разведению трансгенных растений и животных</vt:lpstr>
      <vt:lpstr>Спасибо за внимание!</vt:lpstr>
    </vt:vector>
  </TitlesOfParts>
  <Manager/>
  <Company>SB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S</dc:title>
  <dc:subject/>
  <dc:creator>Анжелика Барбашина</dc:creator>
  <cp:keywords/>
  <dc:description/>
  <cp:lastModifiedBy>Elena Muntyan</cp:lastModifiedBy>
  <cp:revision>475</cp:revision>
  <cp:lastPrinted>2020-03-06T09:19:06Z</cp:lastPrinted>
  <dcterms:created xsi:type="dcterms:W3CDTF">2009-07-03T07:13:37Z</dcterms:created>
  <dcterms:modified xsi:type="dcterms:W3CDTF">2025-04-25T12:12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  <property fmtid="{D5CDD505-2E9C-101B-9397-08002B2CF9AE}" pid="3" name="ContentTypeId">
    <vt:lpwstr>0x0101006A6D979EF70CAA47835A1B98F74E76F9</vt:lpwstr>
  </property>
  <property fmtid="{D5CDD505-2E9C-101B-9397-08002B2CF9AE}" pid="4" name="MediaServiceImageTags">
    <vt:lpwstr/>
  </property>
</Properties>
</file>